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741" r:id="rId5"/>
    <p:sldMasterId id="2147483735" r:id="rId6"/>
    <p:sldMasterId id="2147483737" r:id="rId7"/>
    <p:sldMasterId id="2147483739" r:id="rId8"/>
  </p:sldMasterIdLst>
  <p:notesMasterIdLst>
    <p:notesMasterId r:id="rId15"/>
  </p:notesMasterIdLst>
  <p:handoutMasterIdLst>
    <p:handoutMasterId r:id="rId16"/>
  </p:handoutMasterIdLst>
  <p:sldIdLst>
    <p:sldId id="571" r:id="rId9"/>
    <p:sldId id="569" r:id="rId10"/>
    <p:sldId id="568" r:id="rId11"/>
    <p:sldId id="570" r:id="rId12"/>
    <p:sldId id="572" r:id="rId13"/>
    <p:sldId id="573" r:id="rId14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96B"/>
    <a:srgbClr val="33CC33"/>
    <a:srgbClr val="00C37B"/>
    <a:srgbClr val="00B0E3"/>
    <a:srgbClr val="95E616"/>
    <a:srgbClr val="01D1D0"/>
    <a:srgbClr val="88D5ED"/>
    <a:srgbClr val="CB2980"/>
    <a:srgbClr val="C8FF16"/>
    <a:srgbClr val="FF7E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2F5FBA-54A3-4F6A-8EF1-2E05EADE12CB}" v="91" dt="2020-01-07T14:53:44.3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86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noir, Marc" userId="S::marc.lenoir@capgemini.com::fa9e80f1-309d-4401-b816-85836dfec125" providerId="AD" clId="Web-{3FED2E1C-2CDE-4814-B8ED-39D29D683317}"/>
    <pc:docChg chg="modSld">
      <pc:chgData name="Lenoir, Marc" userId="S::marc.lenoir@capgemini.com::fa9e80f1-309d-4401-b816-85836dfec125" providerId="AD" clId="Web-{3FED2E1C-2CDE-4814-B8ED-39D29D683317}" dt="2019-12-17T10:48:49.512" v="22" actId="1076"/>
      <pc:docMkLst>
        <pc:docMk/>
      </pc:docMkLst>
      <pc:sldChg chg="modSp">
        <pc:chgData name="Lenoir, Marc" userId="S::marc.lenoir@capgemini.com::fa9e80f1-309d-4401-b816-85836dfec125" providerId="AD" clId="Web-{3FED2E1C-2CDE-4814-B8ED-39D29D683317}" dt="2019-12-17T10:47:59.012" v="16" actId="20577"/>
        <pc:sldMkLst>
          <pc:docMk/>
          <pc:sldMk cId="2291983689" sldId="568"/>
        </pc:sldMkLst>
        <pc:spChg chg="mod">
          <ac:chgData name="Lenoir, Marc" userId="S::marc.lenoir@capgemini.com::fa9e80f1-309d-4401-b816-85836dfec125" providerId="AD" clId="Web-{3FED2E1C-2CDE-4814-B8ED-39D29D683317}" dt="2019-12-17T10:47:59.012" v="16" actId="20577"/>
          <ac:spMkLst>
            <pc:docMk/>
            <pc:sldMk cId="2291983689" sldId="568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38.043" v="20" actId="1076"/>
        <pc:sldMkLst>
          <pc:docMk/>
          <pc:sldMk cId="1221265270" sldId="569"/>
        </pc:sldMkLst>
        <pc:spChg chg="mod">
          <ac:chgData name="Lenoir, Marc" userId="S::marc.lenoir@capgemini.com::fa9e80f1-309d-4401-b816-85836dfec125" providerId="AD" clId="Web-{3FED2E1C-2CDE-4814-B8ED-39D29D683317}" dt="2019-12-17T10:48:33.840" v="19" actId="1076"/>
          <ac:spMkLst>
            <pc:docMk/>
            <pc:sldMk cId="1221265270" sldId="569"/>
            <ac:spMk id="75" creationId="{915E63AC-D72B-4CDA-8B49-80CD263B5154}"/>
          </ac:spMkLst>
        </pc:spChg>
        <pc:spChg chg="mod">
          <ac:chgData name="Lenoir, Marc" userId="S::marc.lenoir@capgemini.com::fa9e80f1-309d-4401-b816-85836dfec125" providerId="AD" clId="Web-{3FED2E1C-2CDE-4814-B8ED-39D29D683317}" dt="2019-12-17T10:48:38.043" v="20" actId="1076"/>
          <ac:spMkLst>
            <pc:docMk/>
            <pc:sldMk cId="1221265270" sldId="569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49.512" v="22" actId="1076"/>
        <pc:sldMkLst>
          <pc:docMk/>
          <pc:sldMk cId="1651073673" sldId="571"/>
        </pc:sldMkLst>
        <pc:spChg chg="mod">
          <ac:chgData name="Lenoir, Marc" userId="S::marc.lenoir@capgemini.com::fa9e80f1-309d-4401-b816-85836dfec125" providerId="AD" clId="Web-{3FED2E1C-2CDE-4814-B8ED-39D29D683317}" dt="2019-12-17T10:48:44.403" v="21" actId="1076"/>
          <ac:spMkLst>
            <pc:docMk/>
            <pc:sldMk cId="1651073673" sldId="571"/>
            <ac:spMk id="75" creationId="{915E63AC-D72B-4CDA-8B49-80CD263B5154}"/>
          </ac:spMkLst>
        </pc:spChg>
        <pc:spChg chg="mod">
          <ac:chgData name="Lenoir, Marc" userId="S::marc.lenoir@capgemini.com::fa9e80f1-309d-4401-b816-85836dfec125" providerId="AD" clId="Web-{3FED2E1C-2CDE-4814-B8ED-39D29D683317}" dt="2019-12-17T10:48:49.512" v="22" actId="1076"/>
          <ac:spMkLst>
            <pc:docMk/>
            <pc:sldMk cId="1651073673" sldId="571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11.340" v="17" actId="1076"/>
        <pc:sldMkLst>
          <pc:docMk/>
          <pc:sldMk cId="216923696" sldId="572"/>
        </pc:sldMkLst>
        <pc:spChg chg="mod">
          <ac:chgData name="Lenoir, Marc" userId="S::marc.lenoir@capgemini.com::fa9e80f1-309d-4401-b816-85836dfec125" providerId="AD" clId="Web-{3FED2E1C-2CDE-4814-B8ED-39D29D683317}" dt="2019-12-17T10:48:11.340" v="17" actId="1076"/>
          <ac:spMkLst>
            <pc:docMk/>
            <pc:sldMk cId="216923696" sldId="572"/>
            <ac:spMk id="57" creationId="{77B9979F-7B4F-4F53-AAB7-A9B779AD87E1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17.543" v="18" actId="1076"/>
        <pc:sldMkLst>
          <pc:docMk/>
          <pc:sldMk cId="4125081957" sldId="573"/>
        </pc:sldMkLst>
        <pc:spChg chg="mod">
          <ac:chgData name="Lenoir, Marc" userId="S::marc.lenoir@capgemini.com::fa9e80f1-309d-4401-b816-85836dfec125" providerId="AD" clId="Web-{3FED2E1C-2CDE-4814-B8ED-39D29D683317}" dt="2019-12-17T10:48:17.543" v="18" actId="1076"/>
          <ac:spMkLst>
            <pc:docMk/>
            <pc:sldMk cId="4125081957" sldId="573"/>
            <ac:spMk id="57" creationId="{77B9979F-7B4F-4F53-AAB7-A9B779AD87E1}"/>
          </ac:spMkLst>
        </pc:spChg>
      </pc:sldChg>
    </pc:docChg>
  </pc:docChgLst>
  <pc:docChgLst>
    <pc:chgData name="Lenoir, Marc" userId="S::marc.lenoir@capgemini.com::fa9e80f1-309d-4401-b816-85836dfec125" providerId="AD" clId="Web-{7624D510-C51F-4B31-A6E8-8151EA985453}"/>
    <pc:docChg chg="modSld">
      <pc:chgData name="Lenoir, Marc" userId="S::marc.lenoir@capgemini.com::fa9e80f1-309d-4401-b816-85836dfec125" providerId="AD" clId="Web-{7624D510-C51F-4B31-A6E8-8151EA985453}" dt="2019-12-17T10:35:53.028" v="17"/>
      <pc:docMkLst>
        <pc:docMk/>
      </pc:docMkLst>
      <pc:sldChg chg="delSp">
        <pc:chgData name="Lenoir, Marc" userId="S::marc.lenoir@capgemini.com::fa9e80f1-309d-4401-b816-85836dfec125" providerId="AD" clId="Web-{7624D510-C51F-4B31-A6E8-8151EA985453}" dt="2019-12-17T10:35:42.575" v="12"/>
        <pc:sldMkLst>
          <pc:docMk/>
          <pc:sldMk cId="2291983689" sldId="568"/>
        </pc:sldMkLst>
        <pc:picChg chg="del">
          <ac:chgData name="Lenoir, Marc" userId="S::marc.lenoir@capgemini.com::fa9e80f1-309d-4401-b816-85836dfec125" providerId="AD" clId="Web-{7624D510-C51F-4B31-A6E8-8151EA985453}" dt="2019-12-17T10:35:42.575" v="12"/>
          <ac:picMkLst>
            <pc:docMk/>
            <pc:sldMk cId="2291983689" sldId="568"/>
            <ac:picMk id="61" creationId="{1CF2C00C-DB96-41B9-8177-17F42D62298A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1.841" v="11"/>
          <ac:picMkLst>
            <pc:docMk/>
            <pc:sldMk cId="2291983689" sldId="568"/>
            <ac:picMk id="62" creationId="{4280DBF4-D6B2-4FF0-8C48-939F5341DB16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0.794" v="10"/>
          <ac:picMkLst>
            <pc:docMk/>
            <pc:sldMk cId="2291983689" sldId="568"/>
            <ac:picMk id="63" creationId="{4D9C641D-1973-4F6B-B577-24847300206C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39.763" v="9"/>
          <ac:picMkLst>
            <pc:docMk/>
            <pc:sldMk cId="2291983689" sldId="568"/>
            <ac:picMk id="64" creationId="{BECE2216-AACE-4165-9322-3FBA95B6E1BF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38.544" v="8"/>
          <ac:picMkLst>
            <pc:docMk/>
            <pc:sldMk cId="2291983689" sldId="568"/>
            <ac:picMk id="66" creationId="{767E6A89-1CAC-464F-9F5C-A08B997A754D}"/>
          </ac:picMkLst>
        </pc:picChg>
      </pc:sldChg>
      <pc:sldChg chg="delSp modSp">
        <pc:chgData name="Lenoir, Marc" userId="S::marc.lenoir@capgemini.com::fa9e80f1-309d-4401-b816-85836dfec125" providerId="AD" clId="Web-{7624D510-C51F-4B31-A6E8-8151EA985453}" dt="2019-12-17T10:35:06.778" v="7"/>
        <pc:sldMkLst>
          <pc:docMk/>
          <pc:sldMk cId="1651073673" sldId="571"/>
        </pc:sldMkLst>
        <pc:spChg chg="mod">
          <ac:chgData name="Lenoir, Marc" userId="S::marc.lenoir@capgemini.com::fa9e80f1-309d-4401-b816-85836dfec125" providerId="AD" clId="Web-{7624D510-C51F-4B31-A6E8-8151EA985453}" dt="2019-12-17T10:34:46.544" v="2" actId="14100"/>
          <ac:spMkLst>
            <pc:docMk/>
            <pc:sldMk cId="1651073673" sldId="571"/>
            <ac:spMk id="57" creationId="{9D98E087-BAD9-445F-8CA1-D524C7F51083}"/>
          </ac:spMkLst>
        </pc:spChg>
        <pc:picChg chg="del">
          <ac:chgData name="Lenoir, Marc" userId="S::marc.lenoir@capgemini.com::fa9e80f1-309d-4401-b816-85836dfec125" providerId="AD" clId="Web-{7624D510-C51F-4B31-A6E8-8151EA985453}" dt="2019-12-17T10:35:06.778" v="7"/>
          <ac:picMkLst>
            <pc:docMk/>
            <pc:sldMk cId="1651073673" sldId="571"/>
            <ac:picMk id="100" creationId="{845EDC64-3244-427D-94B9-A48FFC48134E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5.591" v="6"/>
          <ac:picMkLst>
            <pc:docMk/>
            <pc:sldMk cId="1651073673" sldId="571"/>
            <ac:picMk id="101" creationId="{80E6B482-893C-470D-932C-D1F9E7332D1B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4.731" v="5"/>
          <ac:picMkLst>
            <pc:docMk/>
            <pc:sldMk cId="1651073673" sldId="571"/>
            <ac:picMk id="102" creationId="{18D77C52-DE26-41D0-A6CB-2DE3CCF55CDB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3.903" v="4"/>
          <ac:picMkLst>
            <pc:docMk/>
            <pc:sldMk cId="1651073673" sldId="571"/>
            <ac:picMk id="103" creationId="{5F07F4DA-FB91-42CC-A199-BA8947337781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2.294" v="3"/>
          <ac:picMkLst>
            <pc:docMk/>
            <pc:sldMk cId="1651073673" sldId="571"/>
            <ac:picMk id="104" creationId="{F85C871D-68E0-4035-B109-78A0ECDCC0A2}"/>
          </ac:picMkLst>
        </pc:picChg>
      </pc:sldChg>
      <pc:sldChg chg="delSp modSp">
        <pc:chgData name="Lenoir, Marc" userId="S::marc.lenoir@capgemini.com::fa9e80f1-309d-4401-b816-85836dfec125" providerId="AD" clId="Web-{7624D510-C51F-4B31-A6E8-8151EA985453}" dt="2019-12-17T10:35:53.028" v="17"/>
        <pc:sldMkLst>
          <pc:docMk/>
          <pc:sldMk cId="216923696" sldId="572"/>
        </pc:sldMkLst>
        <pc:spChg chg="mod">
          <ac:chgData name="Lenoir, Marc" userId="S::marc.lenoir@capgemini.com::fa9e80f1-309d-4401-b816-85836dfec125" providerId="AD" clId="Web-{7624D510-C51F-4B31-A6E8-8151EA985453}" dt="2019-12-17T10:34:26.856" v="1" actId="14100"/>
          <ac:spMkLst>
            <pc:docMk/>
            <pc:sldMk cId="216923696" sldId="572"/>
            <ac:spMk id="78" creationId="{52030450-2308-4126-A29F-3356083DD3E5}"/>
          </ac:spMkLst>
        </pc:spChg>
        <pc:picChg chg="del">
          <ac:chgData name="Lenoir, Marc" userId="S::marc.lenoir@capgemini.com::fa9e80f1-309d-4401-b816-85836dfec125" providerId="AD" clId="Web-{7624D510-C51F-4B31-A6E8-8151EA985453}" dt="2019-12-17T10:35:53.028" v="17"/>
          <ac:picMkLst>
            <pc:docMk/>
            <pc:sldMk cId="216923696" sldId="572"/>
            <ac:picMk id="61" creationId="{1CF2C00C-DB96-41B9-8177-17F42D62298A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1.856" v="16"/>
          <ac:picMkLst>
            <pc:docMk/>
            <pc:sldMk cId="216923696" sldId="572"/>
            <ac:picMk id="62" creationId="{4280DBF4-D6B2-4FF0-8C48-939F5341DB16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0.825" v="15"/>
          <ac:picMkLst>
            <pc:docMk/>
            <pc:sldMk cId="216923696" sldId="572"/>
            <ac:picMk id="63" creationId="{4D9C641D-1973-4F6B-B577-24847300206C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0.044" v="14"/>
          <ac:picMkLst>
            <pc:docMk/>
            <pc:sldMk cId="216923696" sldId="572"/>
            <ac:picMk id="64" creationId="{BECE2216-AACE-4165-9322-3FBA95B6E1BF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8.934" v="13"/>
          <ac:picMkLst>
            <pc:docMk/>
            <pc:sldMk cId="216923696" sldId="572"/>
            <ac:picMk id="66" creationId="{767E6A89-1CAC-464F-9F5C-A08B997A754D}"/>
          </ac:picMkLst>
        </pc:picChg>
      </pc:sldChg>
      <pc:sldChg chg="modSp">
        <pc:chgData name="Lenoir, Marc" userId="S::marc.lenoir@capgemini.com::fa9e80f1-309d-4401-b816-85836dfec125" providerId="AD" clId="Web-{7624D510-C51F-4B31-A6E8-8151EA985453}" dt="2019-12-17T10:34:15.200" v="0" actId="14100"/>
        <pc:sldMkLst>
          <pc:docMk/>
          <pc:sldMk cId="4125081957" sldId="573"/>
        </pc:sldMkLst>
        <pc:spChg chg="mod">
          <ac:chgData name="Lenoir, Marc" userId="S::marc.lenoir@capgemini.com::fa9e80f1-309d-4401-b816-85836dfec125" providerId="AD" clId="Web-{7624D510-C51F-4B31-A6E8-8151EA985453}" dt="2019-12-17T10:34:15.200" v="0" actId="14100"/>
          <ac:spMkLst>
            <pc:docMk/>
            <pc:sldMk cId="4125081957" sldId="573"/>
            <ac:spMk id="78" creationId="{52030450-2308-4126-A29F-3356083DD3E5}"/>
          </ac:spMkLst>
        </pc:spChg>
      </pc:sldChg>
    </pc:docChg>
  </pc:docChgLst>
  <pc:docChgLst>
    <pc:chgData name="Montigny, Laure" userId="5721f8b4-49d2-4481-baac-9422e70a7d32" providerId="ADAL" clId="{118C2996-71A2-4C44-829A-7C147D595BE7}"/>
    <pc:docChg chg="undo custSel addSld delSld modSld sldOrd modMainMaster">
      <pc:chgData name="Montigny, Laure" userId="5721f8b4-49d2-4481-baac-9422e70a7d32" providerId="ADAL" clId="{118C2996-71A2-4C44-829A-7C147D595BE7}" dt="2019-10-31T13:25:52.736" v="9504"/>
      <pc:docMkLst>
        <pc:docMk/>
      </pc:docMkLst>
      <pc:sldChg chg="addSp delSp modSp add ord modTransition">
        <pc:chgData name="Montigny, Laure" userId="5721f8b4-49d2-4481-baac-9422e70a7d32" providerId="ADAL" clId="{118C2996-71A2-4C44-829A-7C147D595BE7}" dt="2019-10-11T08:36:23.410" v="9476" actId="20577"/>
        <pc:sldMkLst>
          <pc:docMk/>
          <pc:sldMk cId="2291983689" sldId="568"/>
        </pc:sldMkLst>
        <pc:spChg chg="add mod">
          <ac:chgData name="Montigny, Laure" userId="5721f8b4-49d2-4481-baac-9422e70a7d32" providerId="ADAL" clId="{118C2996-71A2-4C44-829A-7C147D595BE7}" dt="2019-09-20T09:21:05.289" v="7208" actId="1036"/>
          <ac:spMkLst>
            <pc:docMk/>
            <pc:sldMk cId="2291983689" sldId="568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07:47:20.650" v="5699" actId="2711"/>
          <ac:spMkLst>
            <pc:docMk/>
            <pc:sldMk cId="2291983689" sldId="568"/>
            <ac:spMk id="56" creationId="{8E49DEEA-DF3B-491E-837B-FB8F092CB41B}"/>
          </ac:spMkLst>
        </pc:spChg>
        <pc:spChg chg="add mod">
          <ac:chgData name="Montigny, Laure" userId="5721f8b4-49d2-4481-baac-9422e70a7d32" providerId="ADAL" clId="{118C2996-71A2-4C44-829A-7C147D595BE7}" dt="2019-10-11T08:36:13.692" v="9471" actId="20577"/>
          <ac:spMkLst>
            <pc:docMk/>
            <pc:sldMk cId="2291983689" sldId="568"/>
            <ac:spMk id="57" creationId="{7C5166DB-260E-4842-A1F7-153DF45BE744}"/>
          </ac:spMkLst>
        </pc:spChg>
        <pc:spChg chg="del mod">
          <ac:chgData name="Montigny, Laure" userId="5721f8b4-49d2-4481-baac-9422e70a7d32" providerId="ADAL" clId="{118C2996-71A2-4C44-829A-7C147D595BE7}" dt="2019-09-20T09:21:16.871" v="7209" actId="478"/>
          <ac:spMkLst>
            <pc:docMk/>
            <pc:sldMk cId="2291983689" sldId="568"/>
            <ac:spMk id="57" creationId="{9D98E087-BAD9-445F-8CA1-D524C7F51083}"/>
          </ac:spMkLst>
        </pc:spChg>
        <pc:spChg chg="add mod">
          <ac:chgData name="Montigny, Laure" userId="5721f8b4-49d2-4481-baac-9422e70a7d32" providerId="ADAL" clId="{118C2996-71A2-4C44-829A-7C147D595BE7}" dt="2019-09-17T15:14:39.543" v="2881" actId="1035"/>
          <ac:spMkLst>
            <pc:docMk/>
            <pc:sldMk cId="2291983689" sldId="568"/>
            <ac:spMk id="58" creationId="{DF849BC7-2B1B-4259-B005-F766AE43A7AE}"/>
          </ac:spMkLst>
        </pc:spChg>
        <pc:spChg chg="mod">
          <ac:chgData name="Montigny, Laure" userId="5721f8b4-49d2-4481-baac-9422e70a7d32" providerId="ADAL" clId="{118C2996-71A2-4C44-829A-7C147D595BE7}" dt="2019-09-20T09:21:00.595" v="7202" actId="1036"/>
          <ac:spMkLst>
            <pc:docMk/>
            <pc:sldMk cId="2291983689" sldId="568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20:50.803" v="7195" actId="1036"/>
          <ac:spMkLst>
            <pc:docMk/>
            <pc:sldMk cId="2291983689" sldId="568"/>
            <ac:spMk id="60" creationId="{F3680749-C1D4-456F-90F4-05B22CF55F0A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65" creationId="{0E0972D3-011C-4841-8CE3-ABBFC38D752D}"/>
          </ac:spMkLst>
        </pc:spChg>
        <pc:spChg chg="add del mod">
          <ac:chgData name="Montigny, Laure" userId="5721f8b4-49d2-4481-baac-9422e70a7d32" providerId="ADAL" clId="{118C2996-71A2-4C44-829A-7C147D595BE7}" dt="2019-09-20T09:40:21.856" v="8400" actId="478"/>
          <ac:spMkLst>
            <pc:docMk/>
            <pc:sldMk cId="2291983689" sldId="568"/>
            <ac:spMk id="67" creationId="{97BBB8D5-2519-4804-8C85-BC2E80EAEADB}"/>
          </ac:spMkLst>
        </pc:spChg>
        <pc:spChg chg="add">
          <ac:chgData name="Montigny, Laure" userId="5721f8b4-49d2-4481-baac-9422e70a7d32" providerId="ADAL" clId="{118C2996-71A2-4C44-829A-7C147D595BE7}" dt="2019-09-17T15:18:15.639" v="2992"/>
          <ac:spMkLst>
            <pc:docMk/>
            <pc:sldMk cId="2291983689" sldId="568"/>
            <ac:spMk id="68" creationId="{7FC864C5-2CC9-4A44-AA31-01DB290CBD84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69" creationId="{FD6B989A-08A0-4684-89A4-1FFA2B5B10F9}"/>
          </ac:spMkLst>
        </pc:spChg>
        <pc:spChg chg="add mod">
          <ac:chgData name="Montigny, Laure" userId="5721f8b4-49d2-4481-baac-9422e70a7d32" providerId="ADAL" clId="{118C2996-71A2-4C44-829A-7C147D595BE7}" dt="2019-09-17T15:18:27.945" v="2994" actId="1076"/>
          <ac:spMkLst>
            <pc:docMk/>
            <pc:sldMk cId="2291983689" sldId="568"/>
            <ac:spMk id="70" creationId="{40CF57C3-3CFC-4C73-B834-01EDFCA8BD88}"/>
          </ac:spMkLst>
        </pc:spChg>
        <pc:spChg chg="add">
          <ac:chgData name="Montigny, Laure" userId="5721f8b4-49d2-4481-baac-9422e70a7d32" providerId="ADAL" clId="{118C2996-71A2-4C44-829A-7C147D595BE7}" dt="2019-09-20T09:21:17.718" v="7210"/>
          <ac:spMkLst>
            <pc:docMk/>
            <pc:sldMk cId="2291983689" sldId="568"/>
            <ac:spMk id="71" creationId="{E540DDE0-3768-4467-8BA1-FFB649E7E353}"/>
          </ac:spMkLst>
        </pc:spChg>
        <pc:spChg chg="del mod">
          <ac:chgData name="Montigny, Laure" userId="5721f8b4-49d2-4481-baac-9422e70a7d32" providerId="ADAL" clId="{118C2996-71A2-4C44-829A-7C147D595BE7}" dt="2019-09-17T15:18:09.571" v="2989" actId="478"/>
          <ac:spMkLst>
            <pc:docMk/>
            <pc:sldMk cId="2291983689" sldId="568"/>
            <ac:spMk id="74" creationId="{52689C17-364E-4D40-8675-F2DA929583A3}"/>
          </ac:spMkLst>
        </pc:spChg>
        <pc:spChg chg="del">
          <ac:chgData name="Montigny, Laure" userId="5721f8b4-49d2-4481-baac-9422e70a7d32" providerId="ADAL" clId="{118C2996-71A2-4C44-829A-7C147D595BE7}" dt="2019-09-17T15:18:12.925" v="2990" actId="478"/>
          <ac:spMkLst>
            <pc:docMk/>
            <pc:sldMk cId="2291983689" sldId="568"/>
            <ac:spMk id="75" creationId="{915E63AC-D72B-4CDA-8B49-80CD263B5154}"/>
          </ac:spMkLst>
        </pc:spChg>
        <pc:spChg chg="del">
          <ac:chgData name="Montigny, Laure" userId="5721f8b4-49d2-4481-baac-9422e70a7d32" providerId="ADAL" clId="{118C2996-71A2-4C44-829A-7C147D595BE7}" dt="2019-09-17T15:18:15.310" v="2991" actId="478"/>
          <ac:spMkLst>
            <pc:docMk/>
            <pc:sldMk cId="2291983689" sldId="568"/>
            <ac:spMk id="76" creationId="{C9B67ABF-FA18-4450-BB0D-5D0E97C5C2BD}"/>
          </ac:spMkLst>
        </pc:spChg>
        <pc:spChg chg="mod">
          <ac:chgData name="Montigny, Laure" userId="5721f8b4-49d2-4481-baac-9422e70a7d32" providerId="ADAL" clId="{118C2996-71A2-4C44-829A-7C147D595BE7}" dt="2019-10-11T08:36:23.410" v="9476" actId="20577"/>
          <ac:spMkLst>
            <pc:docMk/>
            <pc:sldMk cId="2291983689" sldId="568"/>
            <ac:spMk id="77" creationId="{9C609CD1-37D6-4D9E-8134-59C3C9EC8AC7}"/>
          </ac:spMkLst>
        </pc:spChg>
        <pc:spChg chg="mod">
          <ac:chgData name="Montigny, Laure" userId="5721f8b4-49d2-4481-baac-9422e70a7d32" providerId="ADAL" clId="{118C2996-71A2-4C44-829A-7C147D595BE7}" dt="2019-09-20T07:47:44.823" v="5703" actId="207"/>
          <ac:spMkLst>
            <pc:docMk/>
            <pc:sldMk cId="2291983689" sldId="568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12.158" v="9406" actId="478"/>
          <ac:spMkLst>
            <pc:docMk/>
            <pc:sldMk cId="2291983689" sldId="568"/>
            <ac:spMk id="79" creationId="{D971279F-8202-4226-BF3B-0C1D35C873C5}"/>
          </ac:spMkLst>
        </pc:spChg>
        <pc:spChg chg="del">
          <ac:chgData name="Montigny, Laure" userId="5721f8b4-49d2-4481-baac-9422e70a7d32" providerId="ADAL" clId="{118C2996-71A2-4C44-829A-7C147D595BE7}" dt="2019-09-17T15:14:20.053" v="2856" actId="478"/>
          <ac:spMkLst>
            <pc:docMk/>
            <pc:sldMk cId="2291983689" sldId="568"/>
            <ac:spMk id="81" creationId="{C48CC17C-8DFA-4040-85FC-581F24D4893D}"/>
          </ac:spMkLst>
        </pc:spChg>
        <pc:spChg chg="del">
          <ac:chgData name="Montigny, Laure" userId="5721f8b4-49d2-4481-baac-9422e70a7d32" providerId="ADAL" clId="{118C2996-71A2-4C44-829A-7C147D595BE7}" dt="2019-09-17T15:14:23.145" v="2857" actId="478"/>
          <ac:spMkLst>
            <pc:docMk/>
            <pc:sldMk cId="2291983689" sldId="568"/>
            <ac:spMk id="94" creationId="{0D6D8C0C-B315-4078-9CE2-365BCF1E2006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09-20T09:22:19.284" v="7225" actId="2711"/>
          <ac:spMkLst>
            <pc:docMk/>
            <pc:sldMk cId="2291983689" sldId="568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10-01T09:57:24.461" v="9372" actId="207"/>
          <ac:spMkLst>
            <pc:docMk/>
            <pc:sldMk cId="2291983689" sldId="568"/>
            <ac:spMk id="108" creationId="{32BB47EF-A9E0-4D56-AACD-FFEBBACF178A}"/>
          </ac:spMkLst>
        </pc:spChg>
        <pc:grpChg chg="del">
          <ac:chgData name="Montigny, Laure" userId="5721f8b4-49d2-4481-baac-9422e70a7d32" providerId="ADAL" clId="{118C2996-71A2-4C44-829A-7C147D595BE7}" dt="2019-09-17T15:14:25.726" v="2858" actId="478"/>
          <ac:grpSpMkLst>
            <pc:docMk/>
            <pc:sldMk cId="2291983689" sldId="568"/>
            <ac:grpSpMk id="95" creationId="{DF1DE4CD-0EE8-4364-83EB-70F6BC9F82A7}"/>
          </ac:grpSpMkLst>
        </pc:grp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1" creationId="{1CF2C00C-DB96-41B9-8177-17F42D62298A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2" creationId="{4280DBF4-D6B2-4FF0-8C48-939F5341DB16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3" creationId="{4D9C641D-1973-4F6B-B577-24847300206C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4" creationId="{BECE2216-AACE-4165-9322-3FBA95B6E1BF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6" creationId="{767E6A89-1CAC-464F-9F5C-A08B997A754D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1" creationId="{2B476527-33A5-4AAE-9771-8519C6F5D34C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2" creationId="{9435BC74-2E7F-44B9-89F0-585CD4F4D493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3" creationId="{27284397-3BFA-4281-B007-BFA0AD086029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4" creationId="{E03B5793-C916-4E63-B7CB-3115E1EC721B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5" creationId="{1A277DF9-5F40-4A81-A54A-23EA87EEF5FD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11T08:41:17.583" v="9502" actId="14100"/>
        <pc:sldMkLst>
          <pc:docMk/>
          <pc:sldMk cId="1221265270" sldId="569"/>
        </pc:sldMkLst>
        <pc:spChg chg="add del">
          <ac:chgData name="Montigny, Laure" userId="5721f8b4-49d2-4481-baac-9422e70a7d32" providerId="ADAL" clId="{118C2996-71A2-4C44-829A-7C147D595BE7}" dt="2019-09-20T09:18:06.442" v="7145"/>
          <ac:spMkLst>
            <pc:docMk/>
            <pc:sldMk cId="1221265270" sldId="569"/>
            <ac:spMk id="2" creationId="{A9EF9B18-B47B-4752-BEF1-4A6F4AA5306B}"/>
          </ac:spMkLst>
        </pc:spChg>
        <pc:spChg chg="add del">
          <ac:chgData name="Montigny, Laure" userId="5721f8b4-49d2-4481-baac-9422e70a7d32" providerId="ADAL" clId="{118C2996-71A2-4C44-829A-7C147D595BE7}" dt="2019-09-20T09:18:08.543" v="7147"/>
          <ac:spMkLst>
            <pc:docMk/>
            <pc:sldMk cId="1221265270" sldId="569"/>
            <ac:spMk id="3" creationId="{2DF3B29F-214F-411E-8A5E-293D94358C28}"/>
          </ac:spMkLst>
        </pc:spChg>
        <pc:spChg chg="add del mod">
          <ac:chgData name="Montigny, Laure" userId="5721f8b4-49d2-4481-baac-9422e70a7d32" providerId="ADAL" clId="{118C2996-71A2-4C44-829A-7C147D595BE7}" dt="2019-09-20T09:18:18.934" v="7155" actId="478"/>
          <ac:spMkLst>
            <pc:docMk/>
            <pc:sldMk cId="1221265270" sldId="569"/>
            <ac:spMk id="4" creationId="{11487EF4-9E28-48DC-9716-F8EF970AE532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39" creationId="{405FA5FB-CCD9-4CE1-A503-FBCA6E1AC3A0}"/>
          </ac:spMkLst>
        </pc:spChg>
        <pc:spChg chg="mod">
          <ac:chgData name="Montigny, Laure" userId="5721f8b4-49d2-4481-baac-9422e70a7d32" providerId="ADAL" clId="{118C2996-71A2-4C44-829A-7C147D595BE7}" dt="2019-10-10T08:35:44.878" v="9380" actId="27636"/>
          <ac:spMkLst>
            <pc:docMk/>
            <pc:sldMk cId="1221265270" sldId="569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09-20T09:19:53.970" v="7183" actId="1036"/>
          <ac:spMkLst>
            <pc:docMk/>
            <pc:sldMk cId="1221265270" sldId="569"/>
            <ac:spMk id="57" creationId="{9D98E087-BAD9-445F-8CA1-D524C7F51083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58" creationId="{E1FDBC7B-6F60-4207-B121-82F977AA9B11}"/>
          </ac:spMkLst>
        </pc:spChg>
        <pc:spChg chg="mod">
          <ac:chgData name="Montigny, Laure" userId="5721f8b4-49d2-4481-baac-9422e70a7d32" providerId="ADAL" clId="{118C2996-71A2-4C44-829A-7C147D595BE7}" dt="2019-10-10T08:36:10.624" v="9384" actId="1036"/>
          <ac:spMkLst>
            <pc:docMk/>
            <pc:sldMk cId="1221265270" sldId="569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04:18.040" v="6402" actId="14100"/>
          <ac:spMkLst>
            <pc:docMk/>
            <pc:sldMk cId="1221265270" sldId="569"/>
            <ac:spMk id="60" creationId="{F3680749-C1D4-456F-90F4-05B22CF55F0A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61" creationId="{24BABDDF-43B3-41D9-BFE9-1059099C3A37}"/>
          </ac:spMkLst>
        </pc:spChg>
        <pc:spChg chg="add mod">
          <ac:chgData name="Montigny, Laure" userId="5721f8b4-49d2-4481-baac-9422e70a7d32" providerId="ADAL" clId="{118C2996-71A2-4C44-829A-7C147D595BE7}" dt="2019-10-11T08:41:17.583" v="9502" actId="14100"/>
          <ac:spMkLst>
            <pc:docMk/>
            <pc:sldMk cId="1221265270" sldId="569"/>
            <ac:spMk id="62" creationId="{D1F52E58-FF24-4BA6-8692-76CC94F5205C}"/>
          </ac:spMkLst>
        </pc:spChg>
        <pc:spChg chg="mod">
          <ac:chgData name="Montigny, Laure" userId="5721f8b4-49d2-4481-baac-9422e70a7d32" providerId="ADAL" clId="{118C2996-71A2-4C44-829A-7C147D595BE7}" dt="2019-09-20T12:39:09.623" v="9198" actId="20577"/>
          <ac:spMkLst>
            <pc:docMk/>
            <pc:sldMk cId="1221265270" sldId="569"/>
            <ac:spMk id="65" creationId="{0E0972D3-011C-4841-8CE3-ABBFC38D752D}"/>
          </ac:spMkLst>
        </pc:spChg>
        <pc:spChg chg="mod">
          <ac:chgData name="Montigny, Laure" userId="5721f8b4-49d2-4481-baac-9422e70a7d32" providerId="ADAL" clId="{118C2996-71A2-4C44-829A-7C147D595BE7}" dt="2019-10-11T08:40:47.677" v="9500" actId="20577"/>
          <ac:spMkLst>
            <pc:docMk/>
            <pc:sldMk cId="1221265270" sldId="569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09-20T09:04:34.834" v="6408" actId="1036"/>
          <ac:spMkLst>
            <pc:docMk/>
            <pc:sldMk cId="1221265270" sldId="569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1T08:39:08.532" v="9485" actId="478"/>
          <ac:spMkLst>
            <pc:docMk/>
            <pc:sldMk cId="1221265270" sldId="569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99" creationId="{09D2B2FE-6996-4714-9717-C29D3C7FB960}"/>
          </ac:spMkLst>
        </pc:spChg>
        <pc:spChg chg="mod">
          <ac:chgData name="Montigny, Laure" userId="5721f8b4-49d2-4481-baac-9422e70a7d32" providerId="ADAL" clId="{118C2996-71A2-4C44-829A-7C147D595BE7}" dt="2019-10-10T08:36:08.895" v="9382" actId="14100"/>
          <ac:spMkLst>
            <pc:docMk/>
            <pc:sldMk cId="1221265270" sldId="569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09-20T12:41:31.120" v="9241" actId="20577"/>
          <ac:spMkLst>
            <pc:docMk/>
            <pc:sldMk cId="1221265270" sldId="569"/>
            <ac:spMk id="107" creationId="{5B1AE28A-F3CD-4CE8-8E77-134392A30F02}"/>
          </ac:spMkLst>
        </pc:spChg>
        <pc:spChg chg="del mod">
          <ac:chgData name="Montigny, Laure" userId="5721f8b4-49d2-4481-baac-9422e70a7d32" providerId="ADAL" clId="{118C2996-71A2-4C44-829A-7C147D595BE7}" dt="2019-09-20T09:01:33.969" v="6291" actId="478"/>
          <ac:spMkLst>
            <pc:docMk/>
            <pc:sldMk cId="1221265270" sldId="569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0" creationId="{845EDC64-3244-427D-94B9-A48FFC48134E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1" creationId="{80E6B482-893C-470D-932C-D1F9E7332D1B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2" creationId="{18D77C52-DE26-41D0-A6CB-2DE3CCF55CDB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3" creationId="{5F07F4DA-FB91-42CC-A199-BA8947337781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4" creationId="{F85C871D-68E0-4035-B109-78A0ECDCC0A2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11T08:36:38.178" v="9480" actId="1076"/>
        <pc:sldMkLst>
          <pc:docMk/>
          <pc:sldMk cId="2923988817" sldId="570"/>
        </pc:sldMkLst>
        <pc:spChg chg="add del">
          <ac:chgData name="Montigny, Laure" userId="5721f8b4-49d2-4481-baac-9422e70a7d32" providerId="ADAL" clId="{118C2996-71A2-4C44-829A-7C147D595BE7}" dt="2019-10-11T08:36:31.119" v="9477" actId="478"/>
          <ac:spMkLst>
            <pc:docMk/>
            <pc:sldMk cId="2923988817" sldId="570"/>
            <ac:spMk id="39" creationId="{88D18A43-A27F-467C-AC71-46214B8E94E0}"/>
          </ac:spMkLst>
        </pc:spChg>
        <pc:spChg chg="mod">
          <ac:chgData name="Montigny, Laure" userId="5721f8b4-49d2-4481-baac-9422e70a7d32" providerId="ADAL" clId="{118C2996-71A2-4C44-829A-7C147D595BE7}" dt="2019-09-20T09:37:57.721" v="8295" actId="14100"/>
          <ac:spMkLst>
            <pc:docMk/>
            <pc:sldMk cId="2923988817" sldId="570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07:48:28.216" v="5725" actId="20577"/>
          <ac:spMkLst>
            <pc:docMk/>
            <pc:sldMk cId="2923988817" sldId="570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10-01T09:54:39.540" v="9334" actId="1076"/>
          <ac:spMkLst>
            <pc:docMk/>
            <pc:sldMk cId="2923988817" sldId="570"/>
            <ac:spMk id="57" creationId="{9D98E087-BAD9-445F-8CA1-D524C7F51083}"/>
          </ac:spMkLst>
        </pc:spChg>
        <pc:spChg chg="mod">
          <ac:chgData name="Montigny, Laure" userId="5721f8b4-49d2-4481-baac-9422e70a7d32" providerId="ADAL" clId="{118C2996-71A2-4C44-829A-7C147D595BE7}" dt="2019-09-20T09:37:40.428" v="8278" actId="14100"/>
          <ac:spMkLst>
            <pc:docMk/>
            <pc:sldMk cId="2923988817" sldId="570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42:34.562" v="8564" actId="1035"/>
          <ac:spMkLst>
            <pc:docMk/>
            <pc:sldMk cId="2923988817" sldId="570"/>
            <ac:spMk id="60" creationId="{F3680749-C1D4-456F-90F4-05B22CF55F0A}"/>
          </ac:spMkLst>
        </pc:spChg>
        <pc:spChg chg="add mod">
          <ac:chgData name="Montigny, Laure" userId="5721f8b4-49d2-4481-baac-9422e70a7d32" providerId="ADAL" clId="{118C2996-71A2-4C44-829A-7C147D595BE7}" dt="2019-10-11T08:36:38.178" v="9480" actId="1076"/>
          <ac:spMkLst>
            <pc:docMk/>
            <pc:sldMk cId="2923988817" sldId="570"/>
            <ac:spMk id="61" creationId="{DCBF1718-D1F1-45C4-8134-B3BEB9FBBBB1}"/>
          </ac:spMkLst>
        </pc:spChg>
        <pc:spChg chg="mod">
          <ac:chgData name="Montigny, Laure" userId="5721f8b4-49d2-4481-baac-9422e70a7d32" providerId="ADAL" clId="{118C2996-71A2-4C44-829A-7C147D595BE7}" dt="2019-09-20T09:42:55.414" v="8566" actId="12"/>
          <ac:spMkLst>
            <pc:docMk/>
            <pc:sldMk cId="2923988817" sldId="570"/>
            <ac:spMk id="65" creationId="{0E0972D3-011C-4841-8CE3-ABBFC38D752D}"/>
          </ac:spMkLst>
        </pc:spChg>
        <pc:spChg chg="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69" creationId="{FD6B989A-08A0-4684-89A4-1FFA2B5B10F9}"/>
          </ac:spMkLst>
        </pc:spChg>
        <pc:spChg chg="add 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71" creationId="{9CE6DD61-1B56-4FED-BC6B-24E7F7953EEA}"/>
          </ac:spMkLst>
        </pc:spChg>
        <pc:spChg chg="add 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74" creationId="{3B1BE15D-92ED-4891-A9D7-2256EC55BD7E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75" creationId="{6FA5E026-9276-4AA3-A8D0-618FA655D69C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76" creationId="{D7D7EDB3-3965-4D4A-916B-9F144E26885C}"/>
          </ac:spMkLst>
        </pc:spChg>
        <pc:spChg chg="mod">
          <ac:chgData name="Montigny, Laure" userId="5721f8b4-49d2-4481-baac-9422e70a7d32" providerId="ADAL" clId="{118C2996-71A2-4C44-829A-7C147D595BE7}" dt="2019-09-20T09:37:40.428" v="8278" actId="14100"/>
          <ac:spMkLst>
            <pc:docMk/>
            <pc:sldMk cId="2923988817" sldId="570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04.870" v="9405" actId="478"/>
          <ac:spMkLst>
            <pc:docMk/>
            <pc:sldMk cId="2923988817" sldId="570"/>
            <ac:spMk id="79" creationId="{D971279F-8202-4226-BF3B-0C1D35C873C5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80" creationId="{C6F97B5E-D5AB-4FA3-818B-EE27F04BD382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81" creationId="{260484E3-EAAD-4520-9DC5-AA8EECBBCCBD}"/>
          </ac:spMkLst>
        </pc:spChg>
        <pc:spChg chg="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4:50.402" v="9337" actId="14100"/>
          <ac:spMkLst>
            <pc:docMk/>
            <pc:sldMk cId="2923988817" sldId="570"/>
            <ac:spMk id="107" creationId="{5B1AE28A-F3CD-4CE8-8E77-134392A30F02}"/>
          </ac:spMkLst>
        </pc:spChg>
        <pc:spChg chg="del">
          <ac:chgData name="Montigny, Laure" userId="5721f8b4-49d2-4481-baac-9422e70a7d32" providerId="ADAL" clId="{118C2996-71A2-4C44-829A-7C147D595BE7}" dt="2019-09-20T09:22:37.905" v="7227" actId="478"/>
          <ac:spMkLst>
            <pc:docMk/>
            <pc:sldMk cId="2923988817" sldId="570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1" creationId="{1CF2C00C-DB96-41B9-8177-17F42D62298A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2" creationId="{4280DBF4-D6B2-4FF0-8C48-939F5341DB16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3" creationId="{4D9C641D-1973-4F6B-B577-24847300206C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4" creationId="{BECE2216-AACE-4165-9322-3FBA95B6E1BF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6" creationId="{767E6A89-1CAC-464F-9F5C-A08B997A754D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31T13:25:52.736" v="9504"/>
        <pc:sldMkLst>
          <pc:docMk/>
          <pc:sldMk cId="1651073673" sldId="571"/>
        </pc:sldMkLst>
        <pc:spChg chg="mod">
          <ac:chgData name="Montigny, Laure" userId="5721f8b4-49d2-4481-baac-9422e70a7d32" providerId="ADAL" clId="{118C2996-71A2-4C44-829A-7C147D595BE7}" dt="2019-10-01T09:53:48.685" v="9328" actId="1037"/>
          <ac:spMkLst>
            <pc:docMk/>
            <pc:sldMk cId="1651073673" sldId="571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09-20T09:00:49.492" v="6283" actId="1035"/>
          <ac:spMkLst>
            <pc:docMk/>
            <pc:sldMk cId="1651073673" sldId="571"/>
            <ac:spMk id="57" creationId="{9D98E087-BAD9-445F-8CA1-D524C7F51083}"/>
          </ac:spMkLst>
        </pc:spChg>
        <pc:spChg chg="add del">
          <ac:chgData name="Montigny, Laure" userId="5721f8b4-49d2-4481-baac-9422e70a7d32" providerId="ADAL" clId="{118C2996-71A2-4C44-829A-7C147D595BE7}" dt="2019-10-31T13:25:52.205" v="9503" actId="478"/>
          <ac:spMkLst>
            <pc:docMk/>
            <pc:sldMk cId="1651073673" sldId="571"/>
            <ac:spMk id="58" creationId="{C3568DE1-145F-4364-A060-BD29EE8D7C82}"/>
          </ac:spMkLst>
        </pc:spChg>
        <pc:spChg chg="add">
          <ac:chgData name="Montigny, Laure" userId="5721f8b4-49d2-4481-baac-9422e70a7d32" providerId="ADAL" clId="{118C2996-71A2-4C44-829A-7C147D595BE7}" dt="2019-10-31T13:25:52.736" v="9504"/>
          <ac:spMkLst>
            <pc:docMk/>
            <pc:sldMk cId="1651073673" sldId="571"/>
            <ac:spMk id="61" creationId="{02D10B8E-2EE2-425B-99E4-EAA2BD35FFA6}"/>
          </ac:spMkLst>
        </pc:spChg>
        <pc:spChg chg="mod">
          <ac:chgData name="Montigny, Laure" userId="5721f8b4-49d2-4481-baac-9422e70a7d32" providerId="ADAL" clId="{118C2996-71A2-4C44-829A-7C147D595BE7}" dt="2019-10-11T08:35:55.089" v="9446" actId="6549"/>
          <ac:spMkLst>
            <pc:docMk/>
            <pc:sldMk cId="1651073673" sldId="571"/>
            <ac:spMk id="77" creationId="{9C609CD1-37D6-4D9E-8134-59C3C9EC8AC7}"/>
          </ac:spMkLst>
        </pc:spChg>
        <pc:spChg chg="del mod">
          <ac:chgData name="Montigny, Laure" userId="5721f8b4-49d2-4481-baac-9422e70a7d32" providerId="ADAL" clId="{118C2996-71A2-4C44-829A-7C147D595BE7}" dt="2019-10-10T08:38:42.595" v="9399" actId="478"/>
          <ac:spMkLst>
            <pc:docMk/>
            <pc:sldMk cId="1651073673" sldId="571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09:00:44.865" v="6278" actId="14100"/>
          <ac:spMkLst>
            <pc:docMk/>
            <pc:sldMk cId="1651073673" sldId="571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09-20T09:00:33.297" v="6272" actId="207"/>
          <ac:spMkLst>
            <pc:docMk/>
            <pc:sldMk cId="1651073673" sldId="571"/>
            <ac:spMk id="108" creationId="{32BB47EF-A9E0-4D56-AACD-FFEBBACF178A}"/>
          </ac:spMkLst>
        </pc:spChg>
      </pc:sldChg>
      <pc:sldChg chg="addSp delSp modSp add">
        <pc:chgData name="Montigny, Laure" userId="5721f8b4-49d2-4481-baac-9422e70a7d32" providerId="ADAL" clId="{118C2996-71A2-4C44-829A-7C147D595BE7}" dt="2019-10-11T08:38:41.994" v="9484"/>
        <pc:sldMkLst>
          <pc:docMk/>
          <pc:sldMk cId="216923696" sldId="572"/>
        </pc:sldMkLst>
        <pc:spChg chg="mod">
          <ac:chgData name="Montigny, Laure" userId="5721f8b4-49d2-4481-baac-9422e70a7d32" providerId="ADAL" clId="{118C2996-71A2-4C44-829A-7C147D595BE7}" dt="2019-09-20T09:39:25.287" v="8355" actId="14100"/>
          <ac:spMkLst>
            <pc:docMk/>
            <pc:sldMk cId="216923696" sldId="572"/>
            <ac:spMk id="55" creationId="{84AB0B88-8FBE-4F73-9460-406699541EDC}"/>
          </ac:spMkLst>
        </pc:spChg>
        <pc:spChg chg="add mod">
          <ac:chgData name="Montigny, Laure" userId="5721f8b4-49d2-4481-baac-9422e70a7d32" providerId="ADAL" clId="{118C2996-71A2-4C44-829A-7C147D595BE7}" dt="2019-10-10T08:40:17.953" v="9438" actId="20577"/>
          <ac:spMkLst>
            <pc:docMk/>
            <pc:sldMk cId="216923696" sldId="572"/>
            <ac:spMk id="57" creationId="{77B9979F-7B4F-4F53-AAB7-A9B779AD87E1}"/>
          </ac:spMkLst>
        </pc:spChg>
        <pc:spChg chg="mod">
          <ac:chgData name="Montigny, Laure" userId="5721f8b4-49d2-4481-baac-9422e70a7d32" providerId="ADAL" clId="{118C2996-71A2-4C44-829A-7C147D595BE7}" dt="2019-09-20T09:39:39.117" v="8376" actId="14100"/>
          <ac:spMkLst>
            <pc:docMk/>
            <pc:sldMk cId="216923696" sldId="572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39:20.227" v="8346" actId="14100"/>
          <ac:spMkLst>
            <pc:docMk/>
            <pc:sldMk cId="216923696" sldId="572"/>
            <ac:spMk id="60" creationId="{F3680749-C1D4-456F-90F4-05B22CF55F0A}"/>
          </ac:spMkLst>
        </pc:spChg>
        <pc:spChg chg="del">
          <ac:chgData name="Montigny, Laure" userId="5721f8b4-49d2-4481-baac-9422e70a7d32" providerId="ADAL" clId="{118C2996-71A2-4C44-829A-7C147D595BE7}" dt="2019-09-20T09:40:25.477" v="8401" actId="478"/>
          <ac:spMkLst>
            <pc:docMk/>
            <pc:sldMk cId="216923696" sldId="572"/>
            <ac:spMk id="67" creationId="{97BBB8D5-2519-4804-8C85-BC2E80EAEADB}"/>
          </ac:spMkLst>
        </pc:spChg>
        <pc:spChg chg="add del mod">
          <ac:chgData name="Montigny, Laure" userId="5721f8b4-49d2-4481-baac-9422e70a7d32" providerId="ADAL" clId="{118C2996-71A2-4C44-829A-7C147D595BE7}" dt="2019-10-11T08:38:41.490" v="9483" actId="478"/>
          <ac:spMkLst>
            <pc:docMk/>
            <pc:sldMk cId="216923696" sldId="572"/>
            <ac:spMk id="67" creationId="{9B23119A-AB16-4724-8531-BD4269CC5FF8}"/>
          </ac:spMkLst>
        </pc:spChg>
        <pc:spChg chg="mod">
          <ac:chgData name="Montigny, Laure" userId="5721f8b4-49d2-4481-baac-9422e70a7d32" providerId="ADAL" clId="{118C2996-71A2-4C44-829A-7C147D595BE7}" dt="2019-09-20T09:40:32.870" v="8404" actId="1076"/>
          <ac:spMkLst>
            <pc:docMk/>
            <pc:sldMk cId="216923696" sldId="572"/>
            <ac:spMk id="68" creationId="{7FC864C5-2CC9-4A44-AA31-01DB290CBD84}"/>
          </ac:spMkLst>
        </pc:spChg>
        <pc:spChg chg="mod">
          <ac:chgData name="Montigny, Laure" userId="5721f8b4-49d2-4481-baac-9422e70a7d32" providerId="ADAL" clId="{118C2996-71A2-4C44-829A-7C147D595BE7}" dt="2019-09-20T09:38:55.571" v="8331" actId="1035"/>
          <ac:spMkLst>
            <pc:docMk/>
            <pc:sldMk cId="216923696" sldId="572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09-20T09:40:29.453" v="8403" actId="1076"/>
          <ac:spMkLst>
            <pc:docMk/>
            <pc:sldMk cId="216923696" sldId="572"/>
            <ac:spMk id="70" creationId="{40CF57C3-3CFC-4C73-B834-01EDFCA8BD88}"/>
          </ac:spMkLst>
        </pc:spChg>
        <pc:spChg chg="add">
          <ac:chgData name="Montigny, Laure" userId="5721f8b4-49d2-4481-baac-9422e70a7d32" providerId="ADAL" clId="{118C2996-71A2-4C44-829A-7C147D595BE7}" dt="2019-10-11T08:38:41.994" v="9484"/>
          <ac:spMkLst>
            <pc:docMk/>
            <pc:sldMk cId="216923696" sldId="572"/>
            <ac:spMk id="74" creationId="{006FCB01-2B6D-4704-A8BC-A85566A1025D}"/>
          </ac:spMkLst>
        </pc:spChg>
        <pc:spChg chg="del">
          <ac:chgData name="Montigny, Laure" userId="5721f8b4-49d2-4481-baac-9422e70a7d32" providerId="ADAL" clId="{118C2996-71A2-4C44-829A-7C147D595BE7}" dt="2019-09-20T09:39:54.821" v="8379" actId="478"/>
          <ac:spMkLst>
            <pc:docMk/>
            <pc:sldMk cId="216923696" sldId="572"/>
            <ac:spMk id="77" creationId="{9C609CD1-37D6-4D9E-8134-59C3C9EC8AC7}"/>
          </ac:spMkLst>
        </pc:spChg>
        <pc:spChg chg="mod">
          <ac:chgData name="Montigny, Laure" userId="5721f8b4-49d2-4481-baac-9422e70a7d32" providerId="ADAL" clId="{118C2996-71A2-4C44-829A-7C147D595BE7}" dt="2019-09-20T09:39:31.210" v="8364" actId="14100"/>
          <ac:spMkLst>
            <pc:docMk/>
            <pc:sldMk cId="216923696" sldId="572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47.354" v="9420" actId="478"/>
          <ac:spMkLst>
            <pc:docMk/>
            <pc:sldMk cId="216923696" sldId="572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09:39:01.832" v="8332" actId="1076"/>
          <ac:spMkLst>
            <pc:docMk/>
            <pc:sldMk cId="216923696" sldId="572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7:06.318" v="9370" actId="207"/>
          <ac:spMkLst>
            <pc:docMk/>
            <pc:sldMk cId="216923696" sldId="572"/>
            <ac:spMk id="108" creationId="{32BB47EF-A9E0-4D56-AACD-FFEBBACF178A}"/>
          </ac:spMkLst>
        </pc:spChg>
      </pc:sldChg>
      <pc:sldChg chg="addSp delSp modSp add">
        <pc:chgData name="Montigny, Laure" userId="5721f8b4-49d2-4481-baac-9422e70a7d32" providerId="ADAL" clId="{118C2996-71A2-4C44-829A-7C147D595BE7}" dt="2019-10-11T08:38:37.190" v="9482"/>
        <pc:sldMkLst>
          <pc:docMk/>
          <pc:sldMk cId="4125081957" sldId="573"/>
        </pc:sldMkLst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12:36:17.645" v="9134" actId="1035"/>
          <ac:spMkLst>
            <pc:docMk/>
            <pc:sldMk cId="4125081957" sldId="573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10-10T08:40:24.788" v="9443" actId="20577"/>
          <ac:spMkLst>
            <pc:docMk/>
            <pc:sldMk cId="4125081957" sldId="573"/>
            <ac:spMk id="57" creationId="{77B9979F-7B4F-4F53-AAB7-A9B779AD87E1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12:46:25.672" v="9296" actId="1035"/>
          <ac:spMkLst>
            <pc:docMk/>
            <pc:sldMk cId="4125081957" sldId="573"/>
            <ac:spMk id="60" creationId="{F3680749-C1D4-456F-90F4-05B22CF55F0A}"/>
          </ac:spMkLst>
        </pc:spChg>
        <pc:spChg chg="add del">
          <ac:chgData name="Montigny, Laure" userId="5721f8b4-49d2-4481-baac-9422e70a7d32" providerId="ADAL" clId="{118C2996-71A2-4C44-829A-7C147D595BE7}" dt="2019-10-11T08:38:36.802" v="9481" actId="478"/>
          <ac:spMkLst>
            <pc:docMk/>
            <pc:sldMk cId="4125081957" sldId="573"/>
            <ac:spMk id="61" creationId="{3588FB5B-A25E-4A36-ACAE-53D80147D161}"/>
          </ac:spMkLst>
        </pc:spChg>
        <pc:spChg chg="add">
          <ac:chgData name="Montigny, Laure" userId="5721f8b4-49d2-4481-baac-9422e70a7d32" providerId="ADAL" clId="{118C2996-71A2-4C44-829A-7C147D595BE7}" dt="2019-10-11T08:38:37.190" v="9482"/>
          <ac:spMkLst>
            <pc:docMk/>
            <pc:sldMk cId="4125081957" sldId="573"/>
            <ac:spMk id="62" creationId="{D07A8FB4-034A-4186-B547-C9E0A5D40D10}"/>
          </ac:spMkLst>
        </pc:spChg>
        <pc:spChg chg="mod">
          <ac:chgData name="Montigny, Laure" userId="5721f8b4-49d2-4481-baac-9422e70a7d32" providerId="ADAL" clId="{118C2996-71A2-4C44-829A-7C147D595BE7}" dt="2019-09-20T12:46:25.672" v="9296" actId="1035"/>
          <ac:spMkLst>
            <pc:docMk/>
            <pc:sldMk cId="4125081957" sldId="573"/>
            <ac:spMk id="65" creationId="{0E0972D3-011C-4841-8CE3-ABBFC38D752D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67" creationId="{55B9E03F-E29C-4818-BDBF-BD8FAE702C26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10-01T09:56:39.562" v="9366" actId="1076"/>
          <ac:spMkLst>
            <pc:docMk/>
            <pc:sldMk cId="4125081957" sldId="573"/>
            <ac:spMk id="71" creationId="{E540DDE0-3768-4467-8BA1-FFB649E7E353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4" creationId="{CEAC903A-359D-4722-9A2C-DAF6F58B30CF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5" creationId="{075162A5-799F-41C2-95C0-C2B2B45C2BA8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40:03.465" v="9431" actId="478"/>
          <ac:spMkLst>
            <pc:docMk/>
            <pc:sldMk cId="4125081957" sldId="573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6:30.302" v="9363" actId="14100"/>
          <ac:spMkLst>
            <pc:docMk/>
            <pc:sldMk cId="4125081957" sldId="573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10-01T09:56:34.993" v="9365" actId="1076"/>
          <ac:spMkLst>
            <pc:docMk/>
            <pc:sldMk cId="4125081957" sldId="573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1" creationId="{1CF2C00C-DB96-41B9-8177-17F42D62298A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2" creationId="{4280DBF4-D6B2-4FF0-8C48-939F5341DB16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3" creationId="{4D9C641D-1973-4F6B-B577-24847300206C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4" creationId="{BECE2216-AACE-4165-9322-3FBA95B6E1BF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6" creationId="{767E6A89-1CAC-464F-9F5C-A08B997A754D}"/>
          </ac:picMkLst>
        </pc:picChg>
      </pc:sldChg>
      <pc:sldMasterChg chg="addSp delSp modSp">
        <pc:chgData name="Montigny, Laure" userId="5721f8b4-49d2-4481-baac-9422e70a7d32" providerId="ADAL" clId="{118C2996-71A2-4C44-829A-7C147D595BE7}" dt="2019-09-19T15:13:01.887" v="5676" actId="207"/>
        <pc:sldMasterMkLst>
          <pc:docMk/>
          <pc:sldMasterMk cId="1762778664" sldId="2147483671"/>
        </pc:sldMasterMkLst>
        <pc:spChg chg="del">
          <ac:chgData name="Montigny, Laure" userId="5721f8b4-49d2-4481-baac-9422e70a7d32" providerId="ADAL" clId="{118C2996-71A2-4C44-829A-7C147D595BE7}" dt="2019-09-03T13:23:16.327" v="0" actId="478"/>
          <ac:spMkLst>
            <pc:docMk/>
            <pc:sldMasterMk cId="1762778664" sldId="2147483671"/>
            <ac:spMk id="6" creationId="{AEAC6FFC-697C-4DA0-B50A-9E922D8C3BE7}"/>
          </ac:spMkLst>
        </pc:spChg>
        <pc:spChg chg="mod">
          <ac:chgData name="Montigny, Laure" userId="5721f8b4-49d2-4481-baac-9422e70a7d32" providerId="ADAL" clId="{118C2996-71A2-4C44-829A-7C147D595BE7}" dt="2019-09-19T15:13:01.887" v="5676" actId="207"/>
          <ac:spMkLst>
            <pc:docMk/>
            <pc:sldMasterMk cId="1762778664" sldId="2147483671"/>
            <ac:spMk id="7" creationId="{D7FFA983-8B9D-4789-A349-C069295FC92D}"/>
          </ac:spMkLst>
        </pc:spChg>
        <pc:picChg chg="add del mod ord modCrop">
          <ac:chgData name="Montigny, Laure" userId="5721f8b4-49d2-4481-baac-9422e70a7d32" providerId="ADAL" clId="{118C2996-71A2-4C44-829A-7C147D595BE7}" dt="2019-09-19T14:50:27.029" v="5195" actId="478"/>
          <ac:picMkLst>
            <pc:docMk/>
            <pc:sldMasterMk cId="1762778664" sldId="2147483671"/>
            <ac:picMk id="3" creationId="{C1EF8386-07CF-4F76-B0D0-0E479EBDA8D4}"/>
          </ac:picMkLst>
        </pc:picChg>
        <pc:picChg chg="add del mod ord modCrop">
          <ac:chgData name="Montigny, Laure" userId="5721f8b4-49d2-4481-baac-9422e70a7d32" providerId="ADAL" clId="{118C2996-71A2-4C44-829A-7C147D595BE7}" dt="2019-09-19T15:12:33.128" v="5667" actId="478"/>
          <ac:picMkLst>
            <pc:docMk/>
            <pc:sldMasterMk cId="1762778664" sldId="2147483671"/>
            <ac:picMk id="4" creationId="{04B233E3-AB82-4CC2-AC94-0EB0068DE611}"/>
          </ac:picMkLst>
        </pc:picChg>
        <pc:picChg chg="add del mod">
          <ac:chgData name="Montigny, Laure" userId="5721f8b4-49d2-4481-baac-9422e70a7d32" providerId="ADAL" clId="{118C2996-71A2-4C44-829A-7C147D595BE7}" dt="2019-09-04T08:11:06.958" v="820" actId="478"/>
          <ac:picMkLst>
            <pc:docMk/>
            <pc:sldMasterMk cId="1762778664" sldId="2147483671"/>
            <ac:picMk id="5" creationId="{1F348FB1-AE56-4627-8B1B-A4F228D8F7FD}"/>
          </ac:picMkLst>
        </pc:picChg>
        <pc:picChg chg="add del mod">
          <ac:chgData name="Montigny, Laure" userId="5721f8b4-49d2-4481-baac-9422e70a7d32" providerId="ADAL" clId="{118C2996-71A2-4C44-829A-7C147D595BE7}" dt="2019-09-04T08:13:16.436" v="854" actId="478"/>
          <ac:picMkLst>
            <pc:docMk/>
            <pc:sldMasterMk cId="1762778664" sldId="2147483671"/>
            <ac:picMk id="6" creationId="{47FEDA4B-61D2-42D7-B8AD-EC0345AC4704}"/>
          </ac:picMkLst>
        </pc:picChg>
        <pc:picChg chg="add del mod">
          <ac:chgData name="Montigny, Laure" userId="5721f8b4-49d2-4481-baac-9422e70a7d32" providerId="ADAL" clId="{118C2996-71A2-4C44-829A-7C147D595BE7}" dt="2019-09-19T14:57:50.151" v="5206" actId="478"/>
          <ac:picMkLst>
            <pc:docMk/>
            <pc:sldMasterMk cId="1762778664" sldId="2147483671"/>
            <ac:picMk id="6" creationId="{57C31D42-8A3B-42B2-8372-497379CA1121}"/>
          </ac:picMkLst>
        </pc:picChg>
        <pc:picChg chg="add del mod">
          <ac:chgData name="Montigny, Laure" userId="5721f8b4-49d2-4481-baac-9422e70a7d32" providerId="ADAL" clId="{118C2996-71A2-4C44-829A-7C147D595BE7}" dt="2019-09-04T08:13:05.540" v="851" actId="478"/>
          <ac:picMkLst>
            <pc:docMk/>
            <pc:sldMasterMk cId="1762778664" sldId="2147483671"/>
            <ac:picMk id="8" creationId="{9AB0F6A3-A6D4-4AB0-920B-97F4ADE33DF0}"/>
          </ac:picMkLst>
        </pc:picChg>
        <pc:picChg chg="add mod ord">
          <ac:chgData name="Montigny, Laure" userId="5721f8b4-49d2-4481-baac-9422e70a7d32" providerId="ADAL" clId="{118C2996-71A2-4C44-829A-7C147D595BE7}" dt="2019-09-19T15:12:54.358" v="5672" actId="167"/>
          <ac:picMkLst>
            <pc:docMk/>
            <pc:sldMasterMk cId="1762778664" sldId="2147483671"/>
            <ac:picMk id="10" creationId="{DC669805-A0B0-450F-8856-8DF11C25D3EB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3:45.056" v="859" actId="478"/>
        <pc:sldMasterMkLst>
          <pc:docMk/>
          <pc:sldMasterMk cId="2284074919" sldId="2147483735"/>
        </pc:sldMasterMkLst>
        <pc:picChg chg="add del mod ord modCrop">
          <ac:chgData name="Montigny, Laure" userId="5721f8b4-49d2-4481-baac-9422e70a7d32" providerId="ADAL" clId="{118C2996-71A2-4C44-829A-7C147D595BE7}" dt="2019-09-03T13:32:08.316" v="99" actId="478"/>
          <ac:picMkLst>
            <pc:docMk/>
            <pc:sldMasterMk cId="2284074919" sldId="2147483735"/>
            <ac:picMk id="3" creationId="{02D112D6-F1D1-4856-9558-7BBAB87CFD1F}"/>
          </ac:picMkLst>
        </pc:picChg>
        <pc:picChg chg="add mod ord modCrop">
          <ac:chgData name="Montigny, Laure" userId="5721f8b4-49d2-4481-baac-9422e70a7d32" providerId="ADAL" clId="{118C2996-71A2-4C44-829A-7C147D595BE7}" dt="2019-09-04T08:10:59.451" v="818" actId="167"/>
          <ac:picMkLst>
            <pc:docMk/>
            <pc:sldMasterMk cId="2284074919" sldId="2147483735"/>
            <ac:picMk id="3" creationId="{D86E713C-BD27-4F1F-A3BC-E074ECC2FC81}"/>
          </ac:picMkLst>
        </pc:picChg>
        <pc:picChg chg="del">
          <ac:chgData name="Montigny, Laure" userId="5721f8b4-49d2-4481-baac-9422e70a7d32" providerId="ADAL" clId="{118C2996-71A2-4C44-829A-7C147D595BE7}" dt="2019-09-03T13:29:00.632" v="61" actId="478"/>
          <ac:picMkLst>
            <pc:docMk/>
            <pc:sldMasterMk cId="2284074919" sldId="2147483735"/>
            <ac:picMk id="5" creationId="{1F348FB1-AE56-4627-8B1B-A4F228D8F7FD}"/>
          </ac:picMkLst>
        </pc:picChg>
        <pc:picChg chg="add del mod">
          <ac:chgData name="Montigny, Laure" userId="5721f8b4-49d2-4481-baac-9422e70a7d32" providerId="ADAL" clId="{118C2996-71A2-4C44-829A-7C147D595BE7}" dt="2019-09-04T08:11:01.325" v="819" actId="478"/>
          <ac:picMkLst>
            <pc:docMk/>
            <pc:sldMasterMk cId="2284074919" sldId="2147483735"/>
            <ac:picMk id="5" creationId="{F7797C6A-5D60-42BA-8000-8A549595709C}"/>
          </ac:picMkLst>
        </pc:picChg>
        <pc:picChg chg="add del mod">
          <ac:chgData name="Montigny, Laure" userId="5721f8b4-49d2-4481-baac-9422e70a7d32" providerId="ADAL" clId="{118C2996-71A2-4C44-829A-7C147D595BE7}" dt="2019-09-04T08:10:18.392" v="806" actId="478"/>
          <ac:picMkLst>
            <pc:docMk/>
            <pc:sldMasterMk cId="2284074919" sldId="2147483735"/>
            <ac:picMk id="8" creationId="{3676E63C-FCDF-4F6E-A4F1-6734CE9C9771}"/>
          </ac:picMkLst>
        </pc:picChg>
        <pc:picChg chg="add del mod">
          <ac:chgData name="Montigny, Laure" userId="5721f8b4-49d2-4481-baac-9422e70a7d32" providerId="ADAL" clId="{118C2996-71A2-4C44-829A-7C147D595BE7}" dt="2019-09-03T13:36:32.883" v="289" actId="478"/>
          <ac:picMkLst>
            <pc:docMk/>
            <pc:sldMasterMk cId="2284074919" sldId="2147483735"/>
            <ac:picMk id="8" creationId="{5198FDA9-98C0-4715-A918-807E00E38F91}"/>
          </ac:picMkLst>
        </pc:picChg>
        <pc:picChg chg="add del mod">
          <ac:chgData name="Montigny, Laure" userId="5721f8b4-49d2-4481-baac-9422e70a7d32" providerId="ADAL" clId="{118C2996-71A2-4C44-829A-7C147D595BE7}" dt="2019-09-04T08:08:02.946" v="780" actId="478"/>
          <ac:picMkLst>
            <pc:docMk/>
            <pc:sldMasterMk cId="2284074919" sldId="2147483735"/>
            <ac:picMk id="10" creationId="{63B461D7-22E5-4699-9238-8F9A84CE9DB6}"/>
          </ac:picMkLst>
        </pc:picChg>
        <pc:picChg chg="add del mod ord">
          <ac:chgData name="Montigny, Laure" userId="5721f8b4-49d2-4481-baac-9422e70a7d32" providerId="ADAL" clId="{118C2996-71A2-4C44-829A-7C147D595BE7}" dt="2019-09-04T08:10:34.396" v="812" actId="478"/>
          <ac:picMkLst>
            <pc:docMk/>
            <pc:sldMasterMk cId="2284074919" sldId="2147483735"/>
            <ac:picMk id="11" creationId="{AA10C208-4587-4870-8A48-99ED26314498}"/>
          </ac:picMkLst>
        </pc:picChg>
        <pc:picChg chg="add del mod">
          <ac:chgData name="Montigny, Laure" userId="5721f8b4-49d2-4481-baac-9422e70a7d32" providerId="ADAL" clId="{118C2996-71A2-4C44-829A-7C147D595BE7}" dt="2019-09-04T08:13:45.056" v="859" actId="478"/>
          <ac:picMkLst>
            <pc:docMk/>
            <pc:sldMasterMk cId="2284074919" sldId="2147483735"/>
            <ac:picMk id="12" creationId="{279487E9-264A-4CCE-98CF-F68CCB596049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5:35.937" v="877" actId="14100"/>
        <pc:sldMasterMkLst>
          <pc:docMk/>
          <pc:sldMasterMk cId="4057876205" sldId="2147483737"/>
        </pc:sldMasterMkLst>
        <pc:picChg chg="add mod modCrop">
          <ac:chgData name="Montigny, Laure" userId="5721f8b4-49d2-4481-baac-9422e70a7d32" providerId="ADAL" clId="{118C2996-71A2-4C44-829A-7C147D595BE7}" dt="2019-09-04T08:15:35.937" v="877" actId="14100"/>
          <ac:picMkLst>
            <pc:docMk/>
            <pc:sldMasterMk cId="4057876205" sldId="2147483737"/>
            <ac:picMk id="3" creationId="{65F46A25-8568-4261-A470-F8EC33E9DC88}"/>
          </ac:picMkLst>
        </pc:picChg>
        <pc:picChg chg="add del mod ord modCrop">
          <ac:chgData name="Montigny, Laure" userId="5721f8b4-49d2-4481-baac-9422e70a7d32" providerId="ADAL" clId="{118C2996-71A2-4C44-829A-7C147D595BE7}" dt="2019-09-03T13:36:36.045" v="290" actId="478"/>
          <ac:picMkLst>
            <pc:docMk/>
            <pc:sldMasterMk cId="4057876205" sldId="2147483737"/>
            <ac:picMk id="3" creationId="{A269CF45-7BAD-4A0B-BE6D-58463FE417F5}"/>
          </ac:picMkLst>
        </pc:picChg>
        <pc:picChg chg="del">
          <ac:chgData name="Montigny, Laure" userId="5721f8b4-49d2-4481-baac-9422e70a7d32" providerId="ADAL" clId="{118C2996-71A2-4C44-829A-7C147D595BE7}" dt="2019-09-03T13:29:29.620" v="65" actId="478"/>
          <ac:picMkLst>
            <pc:docMk/>
            <pc:sldMasterMk cId="4057876205" sldId="2147483737"/>
            <ac:picMk id="5" creationId="{1F348FB1-AE56-4627-8B1B-A4F228D8F7FD}"/>
          </ac:picMkLst>
        </pc:picChg>
        <pc:picChg chg="add del">
          <ac:chgData name="Montigny, Laure" userId="5721f8b4-49d2-4481-baac-9422e70a7d32" providerId="ADAL" clId="{118C2996-71A2-4C44-829A-7C147D595BE7}" dt="2019-09-04T08:13:56.671" v="860" actId="478"/>
          <ac:picMkLst>
            <pc:docMk/>
            <pc:sldMasterMk cId="4057876205" sldId="2147483737"/>
            <ac:picMk id="5" creationId="{9174A5CA-B21E-4A42-B298-28A9503292DA}"/>
          </ac:picMkLst>
        </pc:picChg>
        <pc:picChg chg="add del mod">
          <ac:chgData name="Montigny, Laure" userId="5721f8b4-49d2-4481-baac-9422e70a7d32" providerId="ADAL" clId="{118C2996-71A2-4C44-829A-7C147D595BE7}" dt="2019-09-04T08:15:00.028" v="872" actId="478"/>
          <ac:picMkLst>
            <pc:docMk/>
            <pc:sldMasterMk cId="4057876205" sldId="2147483737"/>
            <ac:picMk id="8" creationId="{051680CC-4063-4FA1-90A0-29D6929F3A2B}"/>
          </ac:picMkLst>
        </pc:picChg>
        <pc:picChg chg="add del ord">
          <ac:chgData name="Montigny, Laure" userId="5721f8b4-49d2-4481-baac-9422e70a7d32" providerId="ADAL" clId="{118C2996-71A2-4C44-829A-7C147D595BE7}" dt="2019-09-03T13:30:36.019" v="82" actId="478"/>
          <ac:picMkLst>
            <pc:docMk/>
            <pc:sldMasterMk cId="4057876205" sldId="2147483737"/>
            <ac:picMk id="8" creationId="{253FE665-438A-4F14-9947-D1D24CD21686}"/>
          </ac:picMkLst>
        </pc:picChg>
        <pc:picChg chg="add del mod">
          <ac:chgData name="Montigny, Laure" userId="5721f8b4-49d2-4481-baac-9422e70a7d32" providerId="ADAL" clId="{118C2996-71A2-4C44-829A-7C147D595BE7}" dt="2019-09-04T08:08:05.652" v="781" actId="478"/>
          <ac:picMkLst>
            <pc:docMk/>
            <pc:sldMasterMk cId="4057876205" sldId="2147483737"/>
            <ac:picMk id="10" creationId="{FBE96D3E-B7EC-43E1-B53B-A6EAD5C225A8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7:31.549" v="899" actId="14100"/>
        <pc:sldMasterMkLst>
          <pc:docMk/>
          <pc:sldMasterMk cId="371478550" sldId="2147483739"/>
        </pc:sldMasterMkLst>
        <pc:picChg chg="add mod ord modCrop">
          <ac:chgData name="Montigny, Laure" userId="5721f8b4-49d2-4481-baac-9422e70a7d32" providerId="ADAL" clId="{118C2996-71A2-4C44-829A-7C147D595BE7}" dt="2019-09-04T08:17:31.549" v="899" actId="14100"/>
          <ac:picMkLst>
            <pc:docMk/>
            <pc:sldMasterMk cId="371478550" sldId="2147483739"/>
            <ac:picMk id="3" creationId="{4391B372-61EB-471E-8840-6CF7559D3BB8}"/>
          </ac:picMkLst>
        </pc:picChg>
        <pc:picChg chg="add del">
          <ac:chgData name="Montigny, Laure" userId="5721f8b4-49d2-4481-baac-9422e70a7d32" providerId="ADAL" clId="{118C2996-71A2-4C44-829A-7C147D595BE7}" dt="2019-09-04T08:15:47.374" v="878" actId="478"/>
          <ac:picMkLst>
            <pc:docMk/>
            <pc:sldMasterMk cId="371478550" sldId="2147483739"/>
            <ac:picMk id="5" creationId="{96D78811-344D-4A27-BC38-1F783E37CFA0}"/>
          </ac:picMkLst>
        </pc:picChg>
        <pc:picChg chg="add del mod">
          <ac:chgData name="Montigny, Laure" userId="5721f8b4-49d2-4481-baac-9422e70a7d32" providerId="ADAL" clId="{118C2996-71A2-4C44-829A-7C147D595BE7}" dt="2019-09-04T08:17:14.870" v="895" actId="478"/>
          <ac:picMkLst>
            <pc:docMk/>
            <pc:sldMasterMk cId="371478550" sldId="2147483739"/>
            <ac:picMk id="6" creationId="{2961CEEE-E560-430E-B12D-8325EEE9F357}"/>
          </ac:picMkLst>
        </pc:picChg>
        <pc:picChg chg="del mod">
          <ac:chgData name="Montigny, Laure" userId="5721f8b4-49d2-4481-baac-9422e70a7d32" providerId="ADAL" clId="{118C2996-71A2-4C44-829A-7C147D595BE7}" dt="2019-09-04T08:08:08.345" v="782" actId="478"/>
          <ac:picMkLst>
            <pc:docMk/>
            <pc:sldMasterMk cId="371478550" sldId="2147483739"/>
            <ac:picMk id="10" creationId="{FBE96D3E-B7EC-43E1-B53B-A6EAD5C225A8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10-01T09:57:58.258" v="9378" actId="14100"/>
        <pc:sldMasterMkLst>
          <pc:docMk/>
          <pc:sldMasterMk cId="3277858829" sldId="2147483741"/>
        </pc:sldMasterMkLst>
        <pc:spChg chg="add mod">
          <ac:chgData name="Montigny, Laure" userId="5721f8b4-49d2-4481-baac-9422e70a7d32" providerId="ADAL" clId="{118C2996-71A2-4C44-829A-7C147D595BE7}" dt="2019-09-20T12:46:06.159" v="9294" actId="1037"/>
          <ac:spMkLst>
            <pc:docMk/>
            <pc:sldMasterMk cId="3277858829" sldId="2147483741"/>
            <ac:spMk id="11" creationId="{0EFEF0A4-F89C-42EA-9381-C42F3D5F077F}"/>
          </ac:spMkLst>
        </pc:spChg>
        <pc:picChg chg="add del mod modCrop">
          <ac:chgData name="Montigny, Laure" userId="5721f8b4-49d2-4481-baac-9422e70a7d32" providerId="ADAL" clId="{118C2996-71A2-4C44-829A-7C147D595BE7}" dt="2019-10-01T09:50:55.200" v="9308" actId="478"/>
          <ac:picMkLst>
            <pc:docMk/>
            <pc:sldMasterMk cId="3277858829" sldId="2147483741"/>
            <ac:picMk id="3" creationId="{A03B33AD-A4F1-4B5F-917C-19D73A8506BC}"/>
          </ac:picMkLst>
        </pc:picChg>
        <pc:picChg chg="add mod modCrop">
          <ac:chgData name="Montigny, Laure" userId="5721f8b4-49d2-4481-baac-9422e70a7d32" providerId="ADAL" clId="{118C2996-71A2-4C44-829A-7C147D595BE7}" dt="2019-10-01T09:57:58.258" v="9378" actId="14100"/>
          <ac:picMkLst>
            <pc:docMk/>
            <pc:sldMasterMk cId="3277858829" sldId="2147483741"/>
            <ac:picMk id="4" creationId="{9292E39C-BCD3-4AC6-9AF7-C50BD136FE30}"/>
          </ac:picMkLst>
        </pc:picChg>
        <pc:picChg chg="add del mod modCrop">
          <ac:chgData name="Montigny, Laure" userId="5721f8b4-49d2-4481-baac-9422e70a7d32" providerId="ADAL" clId="{118C2996-71A2-4C44-829A-7C147D595BE7}" dt="2019-10-01T09:51:31.339" v="9313" actId="478"/>
          <ac:picMkLst>
            <pc:docMk/>
            <pc:sldMasterMk cId="3277858829" sldId="2147483741"/>
            <ac:picMk id="5" creationId="{7EAC53AA-D0A4-4349-A432-3C8181A723A2}"/>
          </ac:picMkLst>
        </pc:picChg>
        <pc:picChg chg="del mod">
          <ac:chgData name="Montigny, Laure" userId="5721f8b4-49d2-4481-baac-9422e70a7d32" providerId="ADAL" clId="{118C2996-71A2-4C44-829A-7C147D595BE7}" dt="2019-09-20T08:57:40.859" v="6231" actId="478"/>
          <ac:picMkLst>
            <pc:docMk/>
            <pc:sldMasterMk cId="3277858829" sldId="2147483741"/>
            <ac:picMk id="10" creationId="{DC669805-A0B0-450F-8856-8DF11C25D3EB}"/>
          </ac:picMkLst>
        </pc:picChg>
      </pc:sldMasterChg>
    </pc:docChg>
  </pc:docChgLst>
  <pc:docChgLst>
    <pc:chgData name="Lenoir, Marc" userId="fa9e80f1-309d-4401-b816-85836dfec125" providerId="ADAL" clId="{442F5FBA-54A3-4F6A-8EF1-2E05EADE12CB}"/>
    <pc:docChg chg="undo custSel modSld">
      <pc:chgData name="Lenoir, Marc" userId="fa9e80f1-309d-4401-b816-85836dfec125" providerId="ADAL" clId="{442F5FBA-54A3-4F6A-8EF1-2E05EADE12CB}" dt="2020-01-07T14:53:44.394" v="90" actId="1076"/>
      <pc:docMkLst>
        <pc:docMk/>
      </pc:docMkLst>
      <pc:sldChg chg="addSp modSp">
        <pc:chgData name="Lenoir, Marc" userId="fa9e80f1-309d-4401-b816-85836dfec125" providerId="ADAL" clId="{442F5FBA-54A3-4F6A-8EF1-2E05EADE12CB}" dt="2020-01-07T14:49:01.273" v="28" actId="1076"/>
        <pc:sldMkLst>
          <pc:docMk/>
          <pc:sldMk cId="2291983689" sldId="568"/>
        </pc:sldMkLst>
        <pc:spChg chg="add mod">
          <ac:chgData name="Lenoir, Marc" userId="fa9e80f1-309d-4401-b816-85836dfec125" providerId="ADAL" clId="{442F5FBA-54A3-4F6A-8EF1-2E05EADE12CB}" dt="2020-01-07T14:49:01.273" v="28" actId="1076"/>
          <ac:spMkLst>
            <pc:docMk/>
            <pc:sldMk cId="2291983689" sldId="568"/>
            <ac:spMk id="37" creationId="{38185ABE-8565-4481-B6B2-B1F75E1A1390}"/>
          </ac:spMkLst>
        </pc:spChg>
        <pc:spChg chg="mod">
          <ac:chgData name="Lenoir, Marc" userId="fa9e80f1-309d-4401-b816-85836dfec125" providerId="ADAL" clId="{442F5FBA-54A3-4F6A-8EF1-2E05EADE12CB}" dt="2020-01-07T14:48:54.707" v="26" actId="1076"/>
          <ac:spMkLst>
            <pc:docMk/>
            <pc:sldMk cId="2291983689" sldId="568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48:58.525" v="27" actId="1076"/>
          <ac:spMkLst>
            <pc:docMk/>
            <pc:sldMk cId="2291983689" sldId="568"/>
            <ac:spMk id="106" creationId="{12FBF0CF-9598-4483-A130-E7ACE0CE0BCE}"/>
          </ac:spMkLst>
        </pc:spChg>
      </pc:sldChg>
      <pc:sldChg chg="modSp">
        <pc:chgData name="Lenoir, Marc" userId="fa9e80f1-309d-4401-b816-85836dfec125" providerId="ADAL" clId="{442F5FBA-54A3-4F6A-8EF1-2E05EADE12CB}" dt="2020-01-07T14:48:14.674" v="4" actId="27636"/>
        <pc:sldMkLst>
          <pc:docMk/>
          <pc:sldMk cId="1221265270" sldId="569"/>
        </pc:sldMkLst>
        <pc:spChg chg="mod">
          <ac:chgData name="Lenoir, Marc" userId="fa9e80f1-309d-4401-b816-85836dfec125" providerId="ADAL" clId="{442F5FBA-54A3-4F6A-8EF1-2E05EADE12CB}" dt="2020-01-07T14:48:14.674" v="4" actId="27636"/>
          <ac:spMkLst>
            <pc:docMk/>
            <pc:sldMk cId="1221265270" sldId="569"/>
            <ac:spMk id="56" creationId="{8E49DEEA-DF3B-491E-837B-FB8F092CB41B}"/>
          </ac:spMkLst>
        </pc:spChg>
      </pc:sldChg>
      <pc:sldChg chg="addSp modSp">
        <pc:chgData name="Lenoir, Marc" userId="fa9e80f1-309d-4401-b816-85836dfec125" providerId="ADAL" clId="{442F5FBA-54A3-4F6A-8EF1-2E05EADE12CB}" dt="2020-01-07T14:51:33.288" v="69" actId="1076"/>
        <pc:sldMkLst>
          <pc:docMk/>
          <pc:sldMk cId="2923988817" sldId="570"/>
        </pc:sldMkLst>
        <pc:spChg chg="add mod">
          <ac:chgData name="Lenoir, Marc" userId="fa9e80f1-309d-4401-b816-85836dfec125" providerId="ADAL" clId="{442F5FBA-54A3-4F6A-8EF1-2E05EADE12CB}" dt="2020-01-07T14:51:33.288" v="69" actId="1076"/>
          <ac:spMkLst>
            <pc:docMk/>
            <pc:sldMk cId="2923988817" sldId="570"/>
            <ac:spMk id="39" creationId="{42C66B5A-0F85-4246-AC19-C37D17F26610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55" creationId="{84AB0B88-8FBE-4F73-9460-406699541EDC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71" creationId="{9CE6DD61-1B56-4FED-BC6B-24E7F7953EEA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74" creationId="{3B1BE15D-92ED-4891-A9D7-2256EC55BD7E}"/>
          </ac:spMkLst>
        </pc:spChg>
        <pc:spChg chg="mod">
          <ac:chgData name="Lenoir, Marc" userId="fa9e80f1-309d-4401-b816-85836dfec125" providerId="ADAL" clId="{442F5FBA-54A3-4F6A-8EF1-2E05EADE12CB}" dt="2020-01-07T14:51:29.508" v="68" actId="1076"/>
          <ac:spMkLst>
            <pc:docMk/>
            <pc:sldMk cId="2923988817" sldId="570"/>
            <ac:spMk id="106" creationId="{12FBF0CF-9598-4483-A130-E7ACE0CE0BCE}"/>
          </ac:spMkLst>
        </pc:spChg>
      </pc:sldChg>
      <pc:sldChg chg="addSp modSp">
        <pc:chgData name="Lenoir, Marc" userId="fa9e80f1-309d-4401-b816-85836dfec125" providerId="ADAL" clId="{442F5FBA-54A3-4F6A-8EF1-2E05EADE12CB}" dt="2020-01-07T14:52:01.254" v="74" actId="1076"/>
        <pc:sldMkLst>
          <pc:docMk/>
          <pc:sldMk cId="216923696" sldId="572"/>
        </pc:sldMkLst>
        <pc:spChg chg="add mod">
          <ac:chgData name="Lenoir, Marc" userId="fa9e80f1-309d-4401-b816-85836dfec125" providerId="ADAL" clId="{442F5FBA-54A3-4F6A-8EF1-2E05EADE12CB}" dt="2020-01-07T14:52:01.254" v="74" actId="1076"/>
          <ac:spMkLst>
            <pc:docMk/>
            <pc:sldMk cId="216923696" sldId="572"/>
            <ac:spMk id="37" creationId="{15BFFA4F-7093-4189-A3AA-2075A1033DA4}"/>
          </ac:spMkLst>
        </pc:spChg>
        <pc:spChg chg="mod">
          <ac:chgData name="Lenoir, Marc" userId="fa9e80f1-309d-4401-b816-85836dfec125" providerId="ADAL" clId="{442F5FBA-54A3-4F6A-8EF1-2E05EADE12CB}" dt="2020-01-07T14:51:55.654" v="72" actId="1076"/>
          <ac:spMkLst>
            <pc:docMk/>
            <pc:sldMk cId="216923696" sldId="572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51:52.005" v="71" actId="1076"/>
          <ac:spMkLst>
            <pc:docMk/>
            <pc:sldMk cId="216923696" sldId="572"/>
            <ac:spMk id="69" creationId="{FD6B989A-08A0-4684-89A4-1FFA2B5B10F9}"/>
          </ac:spMkLst>
        </pc:spChg>
        <pc:spChg chg="mod">
          <ac:chgData name="Lenoir, Marc" userId="fa9e80f1-309d-4401-b816-85836dfec125" providerId="ADAL" clId="{442F5FBA-54A3-4F6A-8EF1-2E05EADE12CB}" dt="2020-01-07T14:51:46.780" v="70" actId="1076"/>
          <ac:spMkLst>
            <pc:docMk/>
            <pc:sldMk cId="216923696" sldId="572"/>
            <ac:spMk id="78" creationId="{52030450-2308-4126-A29F-3356083DD3E5}"/>
          </ac:spMkLst>
        </pc:spChg>
      </pc:sldChg>
      <pc:sldChg chg="addSp modSp">
        <pc:chgData name="Lenoir, Marc" userId="fa9e80f1-309d-4401-b816-85836dfec125" providerId="ADAL" clId="{442F5FBA-54A3-4F6A-8EF1-2E05EADE12CB}" dt="2020-01-07T14:53:44.394" v="90" actId="1076"/>
        <pc:sldMkLst>
          <pc:docMk/>
          <pc:sldMk cId="4125081957" sldId="573"/>
        </pc:sldMkLst>
        <pc:spChg chg="mod">
          <ac:chgData name="Lenoir, Marc" userId="fa9e80f1-309d-4401-b816-85836dfec125" providerId="ADAL" clId="{442F5FBA-54A3-4F6A-8EF1-2E05EADE12CB}" dt="2020-01-07T14:53:15.076" v="85" actId="1076"/>
          <ac:spMkLst>
            <pc:docMk/>
            <pc:sldMk cId="4125081957" sldId="573"/>
            <ac:spMk id="55" creationId="{84AB0B88-8FBE-4F73-9460-406699541EDC}"/>
          </ac:spMkLst>
        </pc:spChg>
        <pc:spChg chg="mod">
          <ac:chgData name="Lenoir, Marc" userId="fa9e80f1-309d-4401-b816-85836dfec125" providerId="ADAL" clId="{442F5FBA-54A3-4F6A-8EF1-2E05EADE12CB}" dt="2020-01-07T14:53:37.135" v="88" actId="1076"/>
          <ac:spMkLst>
            <pc:docMk/>
            <pc:sldMk cId="4125081957" sldId="573"/>
            <ac:spMk id="59" creationId="{C885F008-4800-4044-A601-42D911FBE549}"/>
          </ac:spMkLst>
        </pc:spChg>
        <pc:spChg chg="add mod">
          <ac:chgData name="Lenoir, Marc" userId="fa9e80f1-309d-4401-b816-85836dfec125" providerId="ADAL" clId="{442F5FBA-54A3-4F6A-8EF1-2E05EADE12CB}" dt="2020-01-07T14:53:44.394" v="90" actId="1076"/>
          <ac:spMkLst>
            <pc:docMk/>
            <pc:sldMk cId="4125081957" sldId="573"/>
            <ac:spMk id="61" creationId="{ACB86149-78C9-47EB-B270-463DF499F61B}"/>
          </ac:spMkLst>
        </pc:spChg>
        <pc:spChg chg="mod">
          <ac:chgData name="Lenoir, Marc" userId="fa9e80f1-309d-4401-b816-85836dfec125" providerId="ADAL" clId="{442F5FBA-54A3-4F6A-8EF1-2E05EADE12CB}" dt="2020-01-07T14:53:09.899" v="84" actId="20577"/>
          <ac:spMkLst>
            <pc:docMk/>
            <pc:sldMk cId="4125081957" sldId="573"/>
            <ac:spMk id="65" creationId="{0E0972D3-011C-4841-8CE3-ABBFC38D752D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67" creationId="{55B9E03F-E29C-4818-BDBF-BD8FAE702C26}"/>
          </ac:spMkLst>
        </pc:spChg>
        <pc:spChg chg="mod">
          <ac:chgData name="Lenoir, Marc" userId="fa9e80f1-309d-4401-b816-85836dfec125" providerId="ADAL" clId="{442F5FBA-54A3-4F6A-8EF1-2E05EADE12CB}" dt="2020-01-07T14:53:33.581" v="87" actId="1076"/>
          <ac:spMkLst>
            <pc:docMk/>
            <pc:sldMk cId="4125081957" sldId="573"/>
            <ac:spMk id="69" creationId="{FD6B989A-08A0-4684-89A4-1FFA2B5B10F9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4" creationId="{CEAC903A-359D-4722-9A2C-DAF6F58B30CF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5" creationId="{075162A5-799F-41C2-95C0-C2B2B45C2BA8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8" creationId="{52030450-2308-4126-A29F-3356083DD3E5}"/>
          </ac:spMkLst>
        </pc:spChg>
        <pc:spChg chg="mod">
          <ac:chgData name="Lenoir, Marc" userId="fa9e80f1-309d-4401-b816-85836dfec125" providerId="ADAL" clId="{442F5FBA-54A3-4F6A-8EF1-2E05EADE12CB}" dt="2020-01-07T14:53:41.461" v="89" actId="1076"/>
          <ac:spMkLst>
            <pc:docMk/>
            <pc:sldMk cId="4125081957" sldId="573"/>
            <ac:spMk id="106" creationId="{12FBF0CF-9598-4483-A130-E7ACE0CE0BCE}"/>
          </ac:spMkLst>
        </pc:spChg>
      </pc:sldChg>
    </pc:docChg>
  </pc:docChgLst>
  <pc:docChgLst>
    <pc:chgData name="Montigny, Laure" userId="5721f8b4-49d2-4481-baac-9422e70a7d32" providerId="ADAL" clId="{0F704054-2A6C-4602-A43D-A52C2ECDD218}"/>
    <pc:docChg chg="undo custSel addSld modSld modMainMaster">
      <pc:chgData name="Montigny, Laure" userId="5721f8b4-49d2-4481-baac-9422e70a7d32" providerId="ADAL" clId="{0F704054-2A6C-4602-A43D-A52C2ECDD218}" dt="2019-09-03T12:21:51.232" v="2720" actId="790"/>
      <pc:docMkLst>
        <pc:docMk/>
      </pc:docMkLst>
      <pc:sldMasterChg chg="addSp delSp modSp modSldLayout">
        <pc:chgData name="Montigny, Laure" userId="5721f8b4-49d2-4481-baac-9422e70a7d32" providerId="ADAL" clId="{0F704054-2A6C-4602-A43D-A52C2ECDD218}" dt="2019-08-22T07:04:36.214" v="357" actId="207"/>
        <pc:sldMasterMkLst>
          <pc:docMk/>
          <pc:sldMasterMk cId="1762778664" sldId="2147483671"/>
        </pc:sldMasterMkLst>
        <pc:spChg chg="add del">
          <ac:chgData name="Montigny, Laure" userId="5721f8b4-49d2-4481-baac-9422e70a7d32" providerId="ADAL" clId="{0F704054-2A6C-4602-A43D-A52C2ECDD218}" dt="2019-08-21T15:32:15.031" v="9" actId="478"/>
          <ac:spMkLst>
            <pc:docMk/>
            <pc:sldMasterMk cId="1762778664" sldId="2147483671"/>
            <ac:spMk id="2" creationId="{F2EB016D-CF9A-4584-982E-40465F70132F}"/>
          </ac:spMkLst>
        </pc:spChg>
        <pc:spChg chg="add del">
          <ac:chgData name="Montigny, Laure" userId="5721f8b4-49d2-4481-baac-9422e70a7d32" providerId="ADAL" clId="{0F704054-2A6C-4602-A43D-A52C2ECDD218}" dt="2019-08-21T15:32:22.307" v="13"/>
          <ac:spMkLst>
            <pc:docMk/>
            <pc:sldMasterMk cId="1762778664" sldId="2147483671"/>
            <ac:spMk id="5" creationId="{BA471D7B-3E32-4BA1-A2B1-94A88FD14AB8}"/>
          </ac:spMkLst>
        </pc:spChg>
        <pc:spChg chg="add mod">
          <ac:chgData name="Montigny, Laure" userId="5721f8b4-49d2-4481-baac-9422e70a7d32" providerId="ADAL" clId="{0F704054-2A6C-4602-A43D-A52C2ECDD218}" dt="2019-08-22T07:04:36.214" v="357" actId="207"/>
          <ac:spMkLst>
            <pc:docMk/>
            <pc:sldMasterMk cId="1762778664" sldId="2147483671"/>
            <ac:spMk id="6" creationId="{AEAC6FFC-697C-4DA0-B50A-9E922D8C3BE7}"/>
          </ac:spMkLst>
        </pc:spChg>
        <pc:spChg chg="add">
          <ac:chgData name="Montigny, Laure" userId="5721f8b4-49d2-4481-baac-9422e70a7d32" providerId="ADAL" clId="{0F704054-2A6C-4602-A43D-A52C2ECDD218}" dt="2019-08-21T15:34:43.081" v="45"/>
          <ac:spMkLst>
            <pc:docMk/>
            <pc:sldMasterMk cId="1762778664" sldId="2147483671"/>
            <ac:spMk id="7" creationId="{D7FFA983-8B9D-4789-A349-C069295FC92D}"/>
          </ac:spMkLst>
        </pc:spChg>
        <pc:spChg chg="add del mod">
          <ac:chgData name="Montigny, Laure" userId="5721f8b4-49d2-4481-baac-9422e70a7d32" providerId="ADAL" clId="{0F704054-2A6C-4602-A43D-A52C2ECDD218}" dt="2019-08-21T15:32:19.520" v="11" actId="478"/>
          <ac:spMkLst>
            <pc:docMk/>
            <pc:sldMasterMk cId="1762778664" sldId="2147483671"/>
            <ac:spMk id="13" creationId="{AF310831-D03E-404B-934F-73B268225B7E}"/>
          </ac:spMkLst>
        </pc:spChg>
        <pc:picChg chg="add del">
          <ac:chgData name="Montigny, Laure" userId="5721f8b4-49d2-4481-baac-9422e70a7d32" providerId="ADAL" clId="{0F704054-2A6C-4602-A43D-A52C2ECDD218}" dt="2019-08-21T15:32:08.361" v="8" actId="478"/>
          <ac:picMkLst>
            <pc:docMk/>
            <pc:sldMasterMk cId="1762778664" sldId="2147483671"/>
            <ac:picMk id="9" creationId="{25EEA1D4-3AF7-42D7-AE97-AE404AECFAEB}"/>
          </ac:picMkLst>
        </pc:picChg>
        <pc:sldLayoutChg chg="delSp">
          <pc:chgData name="Montigny, Laure" userId="5721f8b4-49d2-4481-baac-9422e70a7d32" providerId="ADAL" clId="{0F704054-2A6C-4602-A43D-A52C2ECDD218}" dt="2019-08-21T15:34:41.228" v="44" actId="478"/>
          <pc:sldLayoutMkLst>
            <pc:docMk/>
            <pc:sldMasterMk cId="1762778664" sldId="2147483671"/>
            <pc:sldLayoutMk cId="3756351309" sldId="2147483734"/>
          </pc:sldLayoutMkLst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8" creationId="{27CE2609-37DA-4C4C-BF45-E56CE85AA41D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9" creationId="{6733E381-C11A-4F10-88ED-DDEA4B9167E2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1" creationId="{4F279807-494A-45DD-A5C6-24F625316B92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3" creationId="{D8D7F005-BA7C-423E-87B0-6782D88233F6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4" creationId="{47BDC0DA-1585-454D-9E74-41D2AFC0FEE5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22" creationId="{834ADCB4-BFB1-450D-8F6D-64217F4CD92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1/05/2021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N°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1/05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6888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8426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3092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7221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1125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1891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6214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445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311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515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DC669805-A0B0-450F-8856-8DF11C25D3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3125122" cy="6858000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191344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191344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sp>
        <p:nvSpPr>
          <p:cNvPr id="11" name="Retângulo 43">
            <a:extLst>
              <a:ext uri="{FF2B5EF4-FFF2-40B4-BE49-F238E27FC236}">
                <a16:creationId xmlns:a16="http://schemas.microsoft.com/office/drawing/2014/main" id="{0EFEF0A4-F89C-42EA-9381-C42F3D5F077F}"/>
              </a:ext>
            </a:extLst>
          </p:cNvPr>
          <p:cNvSpPr/>
          <p:nvPr userDrawn="1"/>
        </p:nvSpPr>
        <p:spPr>
          <a:xfrm>
            <a:off x="47328" y="663854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292E39C-BCD3-4AC6-9AF7-C50BD136F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353"/>
          <a:stretch/>
        </p:blipFill>
        <p:spPr>
          <a:xfrm rot="5400000" flipH="1">
            <a:off x="1246771" y="-1246775"/>
            <a:ext cx="1658239" cy="415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5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86E713C-BD27-4F1F-A3BC-E074ECC2FC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87" t="1" b="48128"/>
          <a:stretch/>
        </p:blipFill>
        <p:spPr>
          <a:xfrm>
            <a:off x="0" y="0"/>
            <a:ext cx="6096000" cy="6316734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84074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5F46A25-8568-4261-A470-F8EC33E9DC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87" b="48450"/>
          <a:stretch/>
        </p:blipFill>
        <p:spPr>
          <a:xfrm>
            <a:off x="0" y="0"/>
            <a:ext cx="6096000" cy="6316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87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391B372-61EB-471E-8840-6CF7559D3B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33" b="47693"/>
          <a:stretch/>
        </p:blipFill>
        <p:spPr>
          <a:xfrm>
            <a:off x="0" y="0"/>
            <a:ext cx="6096000" cy="6389016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47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3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2075C7D-F570-42AB-A40F-879F8E04997B}"/>
              </a:ext>
            </a:extLst>
          </p:cNvPr>
          <p:cNvSpPr/>
          <p:nvPr/>
        </p:nvSpPr>
        <p:spPr>
          <a:xfrm>
            <a:off x="12317133" y="39014"/>
            <a:ext cx="1959333" cy="81865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détaillé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 Android / Windows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FCD6928-5E45-4B9A-A3B6-9F970F2B76E3}"/>
              </a:ext>
            </a:extLst>
          </p:cNvPr>
          <p:cNvSpPr/>
          <p:nvPr/>
        </p:nvSpPr>
        <p:spPr>
          <a:xfrm>
            <a:off x="12317133" y="2490877"/>
            <a:ext cx="1959333" cy="23097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ériences professionnelles</a:t>
            </a:r>
            <a:b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rnières expériences professionnelles détaillées</a:t>
            </a:r>
          </a:p>
          <a:p>
            <a:endParaRPr lang="fr-FR" sz="1050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ient – Rôle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ste des tâches réalisé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yer – Scrum Master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ment d’une application mobil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5148371-2919-42C1-A032-E44FF1D0C9AF}"/>
              </a:ext>
            </a:extLst>
          </p:cNvPr>
          <p:cNvGrpSpPr/>
          <p:nvPr/>
        </p:nvGrpSpPr>
        <p:grpSpPr>
          <a:xfrm>
            <a:off x="14873129" y="1964612"/>
            <a:ext cx="360000" cy="4875772"/>
            <a:chOff x="12355040" y="1954479"/>
            <a:chExt cx="360000" cy="487577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021903-CC88-473D-A538-2FF7B378D205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3EE177-C942-44E5-A0F2-727ACD09E567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3F2B650-8718-4CED-98DF-AC8A9BD7F555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3CBD640-8F0E-4862-BEE0-F23AE32C0E0B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1C2D37-B87A-4B05-8728-C4C96D8746FA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25620D2-4878-426A-B42C-FDD3BAED323E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6CD9EC8-BF38-4F59-B6CB-A4B1C41A8D83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C4048E-1BF5-47E5-B540-CE9AD2D68DC8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B02D1D-1E44-47AF-BDAF-F6728B46EE05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7A6CC90-3996-4168-A8D6-1644915A6EC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7327FF6-769D-4392-887D-5103C0C21A1E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0163D0-A7E2-427D-9FFE-12804B738611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1E3B64-D624-4E2D-B1C0-61DB65F18DA3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FC426C-105B-4E65-999C-99ADE972F3D8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B0EE909B-6CD2-4279-8090-F54858ECD89E}"/>
              </a:ext>
            </a:extLst>
          </p:cNvPr>
          <p:cNvSpPr/>
          <p:nvPr/>
        </p:nvSpPr>
        <p:spPr>
          <a:xfrm>
            <a:off x="-2053293" y="797474"/>
            <a:ext cx="1959333" cy="101777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itiales </a:t>
            </a:r>
          </a:p>
          <a:p>
            <a:r>
              <a:rPr lang="fr-FR" sz="105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emière lettre du prénom et 2 premières lettres du nom</a:t>
            </a:r>
            <a:b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pour Martin Dubois mettre MDU</a:t>
            </a:r>
          </a:p>
        </p:txBody>
      </p:sp>
      <p:sp>
        <p:nvSpPr>
          <p:cNvPr id="73" name="Rectangle : coins arrondis 72">
            <a:extLst>
              <a:ext uri="{FF2B5EF4-FFF2-40B4-BE49-F238E27FC236}">
                <a16:creationId xmlns:a16="http://schemas.microsoft.com/office/drawing/2014/main" id="{626AE789-C7F1-468F-94D8-0F7EFC3E6B1F}"/>
              </a:ext>
            </a:extLst>
          </p:cNvPr>
          <p:cNvSpPr/>
          <p:nvPr/>
        </p:nvSpPr>
        <p:spPr>
          <a:xfrm>
            <a:off x="-2034652" y="73852"/>
            <a:ext cx="1959333" cy="5604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</a:t>
            </a:r>
            <a:b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</a:t>
            </a:r>
          </a:p>
        </p:txBody>
      </p:sp>
      <p:sp>
        <p:nvSpPr>
          <p:cNvPr id="74" name="Rectangle : coins arrondis 73">
            <a:extLst>
              <a:ext uri="{FF2B5EF4-FFF2-40B4-BE49-F238E27FC236}">
                <a16:creationId xmlns:a16="http://schemas.microsoft.com/office/drawing/2014/main" id="{52689C17-364E-4D40-8675-F2DA929583A3}"/>
              </a:ext>
            </a:extLst>
          </p:cNvPr>
          <p:cNvSpPr/>
          <p:nvPr/>
        </p:nvSpPr>
        <p:spPr>
          <a:xfrm>
            <a:off x="-2035165" y="3283410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étenc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avoir-faire technique et professionnel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avoir-être professionnel</a:t>
            </a:r>
          </a:p>
        </p:txBody>
      </p:sp>
      <p:sp>
        <p:nvSpPr>
          <p:cNvPr id="75" name="Rectangle : coins arrondis 74">
            <a:extLst>
              <a:ext uri="{FF2B5EF4-FFF2-40B4-BE49-F238E27FC236}">
                <a16:creationId xmlns:a16="http://schemas.microsoft.com/office/drawing/2014/main" id="{915E63AC-D72B-4CDA-8B49-80CD263B5154}"/>
              </a:ext>
            </a:extLst>
          </p:cNvPr>
          <p:cNvSpPr/>
          <p:nvPr/>
        </p:nvSpPr>
        <p:spPr>
          <a:xfrm>
            <a:off x="-2053293" y="2493928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76" name="Rectangle : coins arrondis 75">
            <a:extLst>
              <a:ext uri="{FF2B5EF4-FFF2-40B4-BE49-F238E27FC236}">
                <a16:creationId xmlns:a16="http://schemas.microsoft.com/office/drawing/2014/main" id="{C9B67ABF-FA18-4450-BB0D-5D0E97C5C2BD}"/>
              </a:ext>
            </a:extLst>
          </p:cNvPr>
          <p:cNvSpPr/>
          <p:nvPr/>
        </p:nvSpPr>
        <p:spPr>
          <a:xfrm>
            <a:off x="-2021051" y="5749986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gues et niveau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ons (A1-A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ermédiaire (B1-B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fessionnel (B2 – C1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rant (C1-C2)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9C609CD1-37D6-4D9E-8134-59C3C9EC8AC7}"/>
              </a:ext>
            </a:extLst>
          </p:cNvPr>
          <p:cNvSpPr/>
          <p:nvPr/>
        </p:nvSpPr>
        <p:spPr>
          <a:xfrm>
            <a:off x="-2054103" y="1934836"/>
            <a:ext cx="1959333" cy="40833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/>
                <a:cs typeface="Arial"/>
              </a:rPr>
              <a:t> </a:t>
            </a: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/>
                <a:cs typeface="Arial"/>
              </a:rPr>
              <a:t>Junior jusqu’à 2 ans d’expérience</a:t>
            </a:r>
          </a:p>
        </p:txBody>
      </p:sp>
      <p:sp>
        <p:nvSpPr>
          <p:cNvPr id="56" name="Title Placeholder 1">
            <a:extLst>
              <a:ext uri="{FF2B5EF4-FFF2-40B4-BE49-F238E27FC236}">
                <a16:creationId xmlns:a16="http://schemas.microsoft.com/office/drawing/2014/main" id="{8E49DEEA-DF3B-491E-837B-FB8F092CB41B}"/>
              </a:ext>
            </a:extLst>
          </p:cNvPr>
          <p:cNvSpPr txBox="1">
            <a:spLocks/>
          </p:cNvSpPr>
          <p:nvPr/>
        </p:nvSpPr>
        <p:spPr>
          <a:xfrm>
            <a:off x="191344" y="189825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 dirty="0">
                <a:latin typeface="Ubuntu" panose="020B0804030602030204" pitchFamily="34" charset="0"/>
              </a:rPr>
              <a:t>Poste</a:t>
            </a:r>
          </a:p>
          <a:p>
            <a:pPr algn="just">
              <a:lnSpc>
                <a:spcPct val="100000"/>
              </a:lnSpc>
            </a:pPr>
            <a:endParaRPr lang="en-US" sz="1000" dirty="0">
              <a:latin typeface="Ubuntu" panose="020B0804030602030204" pitchFamily="34" charset="0"/>
            </a:endParaRPr>
          </a:p>
          <a:p>
            <a:pPr algn="just"/>
            <a:r>
              <a:rPr lang="en-US" sz="2400" b="1" i="1" dirty="0" err="1">
                <a:latin typeface="Ubuntu" panose="020B0804030602030204" pitchFamily="34" charset="0"/>
              </a:rPr>
              <a:t>Architecte</a:t>
            </a:r>
            <a:r>
              <a:rPr lang="en-US" sz="2400" b="1" i="1" dirty="0">
                <a:latin typeface="Ubuntu" panose="020B0804030602030204" pitchFamily="34" charset="0"/>
              </a:rPr>
              <a:t> Solution</a:t>
            </a: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9D98E087-BAD9-445F-8CA1-D524C7F51083}"/>
              </a:ext>
            </a:extLst>
          </p:cNvPr>
          <p:cNvSpPr/>
          <p:nvPr/>
        </p:nvSpPr>
        <p:spPr>
          <a:xfrm>
            <a:off x="6090168" y="283120"/>
            <a:ext cx="2647323" cy="26214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72889" y="1803180"/>
            <a:ext cx="1116000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41127" y="3202523"/>
            <a:ext cx="1260000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41127" y="3466030"/>
            <a:ext cx="5534964" cy="77187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avoir-faire :  Analyse des besoins, Organisation de développement R&amp;D, Conception de projets de développements, Suivi de développement et DevOps</a:t>
            </a:r>
            <a:endParaRPr lang="fr-FR" sz="1100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avoir-être :  rigoureux, esprit d’équipe, curieux, Tenac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6614" y="5867373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Français - Maternel</a:t>
            </a:r>
          </a:p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Anglais - Professionnel</a:t>
            </a: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5" y="5582307"/>
            <a:ext cx="900000" cy="28506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72888" y="2059896"/>
            <a:ext cx="5220617" cy="10590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1996 –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 D.E.S.S Ingénierie Mathématiques  Université Joseph Fourier Grenoble</a:t>
            </a:r>
          </a:p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1996 –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 Maîtrise et titre d’Ingénieur-Maître en Génie Mathématique et Informatique   IUP Université Joseph Fourier Grenoble</a:t>
            </a:r>
          </a:p>
          <a:p>
            <a:pPr algn="just"/>
            <a:endParaRPr lang="fr-FR" sz="1100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90168" y="1636070"/>
            <a:ext cx="5912886" cy="48254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onan </a:t>
            </a:r>
            <a:r>
              <a:rPr lang="fr-FR" sz="1200" b="1" dirty="0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Jeken</a:t>
            </a: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Consulting – Consultant Architecte DevOps 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Pipeline de livraison des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features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sous Azure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Devops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pour la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plateform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ETP Schneider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onseil sur le suivi des best practices  DevOps dans l’équipe R&amp;D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Hardis – Architecte DevOps/Docker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flex/Adelia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Dockerisation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ADELIA/REFLEX :  Participation à la transformation de l’application REFLEX sous forme de conteneurs Docker. Le but est d’utiliser l’application sur le Cloud Public et/ou privé.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onsultant Cloud Public pour plusieurs clients :  Participation à plusieurs projets clients autour du Cloud Public Azure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DEVELOPPEMENT SCRIPTS PYTHON Développement de scripts pour la supervision de serveurs et pour la gestion de tickets sous ITOP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XC Financial Services – Architecte DevOps/Chef de projet Delivery Manager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AIA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Définition/planning des développements pour le gestionnaire de livraison 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Architecture du cycle CI/CD sous Amazon AWS et Jenkins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Migration Docker : étude  Transformation de l’application GRAPHTALK et de son environnement en conteneurs Docker, Installation sous Amazon ECS de l’application GRAPHTALK AIA avec création de conteneurs pour les différents modules du logiciel.</a:t>
            </a: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SC Financial Services Architecte/Chef de projet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AIA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elivery Manager :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Industrialisation / Installation du logiciel Graphtalk AIA : Animation suivi équipe de 8 développeurs, outil de livraison sur site de production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Supervision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: module de Lancement et de gestion des processus asynchrones :  équipe de 8 personnes en France et Bulgarie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 GUI : 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sponsable du projet équipe de 5 personnes en France. Organisation et participation au développement de l’interface Graphique (Windows et Web) du logiciel GRAPHTALK AIA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marL="179387" lvl="1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B4C2BA59-6FAD-4DCE-9BA7-74BDCCFDFD4F}"/>
              </a:ext>
            </a:extLst>
          </p:cNvPr>
          <p:cNvSpPr/>
          <p:nvPr/>
        </p:nvSpPr>
        <p:spPr>
          <a:xfrm>
            <a:off x="-2053294" y="4396181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  <a:b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 des logiciels, technologies par ordre décroissant vis-à-vis de votre évaluation sur 5 pics</a:t>
            </a: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09D2B2FE-6996-4714-9717-C29D3C7FB960}"/>
              </a:ext>
            </a:extLst>
          </p:cNvPr>
          <p:cNvSpPr/>
          <p:nvPr/>
        </p:nvSpPr>
        <p:spPr>
          <a:xfrm>
            <a:off x="241127" y="4226245"/>
            <a:ext cx="1260000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61" name="Rectangle à coins arrondis 158">
            <a:extLst>
              <a:ext uri="{FF2B5EF4-FFF2-40B4-BE49-F238E27FC236}">
                <a16:creationId xmlns:a16="http://schemas.microsoft.com/office/drawing/2014/main" id="{02D10B8E-2EE2-425B-99E4-EAA2BD35FFA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87688" y="857665"/>
            <a:ext cx="1728192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 dirty="0">
                <a:solidFill>
                  <a:schemeClr val="bg1"/>
                </a:solidFill>
                <a:latin typeface="Ubuntu" panose="020B0804030602030204" pitchFamily="34" charset="0"/>
              </a:rPr>
              <a:t>25 années d’expérienc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CAC98F-DF4B-4059-AE57-F86D8C8E08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72888" y="4437206"/>
            <a:ext cx="2947207" cy="127970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Graphtalk AIA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Visual Studio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Langages informatiques : Python, C/C++, C#,, Java, Javascript, GDL,  SQL, Groovy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C3C01DF-0B2F-44AF-95ED-B4AFFFB1723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534173" y="4564163"/>
            <a:ext cx="2947207" cy="102579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Conteneurs Docker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Jenkins, Azure DevOps, Terraform, ARM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Cloud AWS, AZURE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073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2075C7D-F570-42AB-A40F-879F8E04997B}"/>
              </a:ext>
            </a:extLst>
          </p:cNvPr>
          <p:cNvSpPr/>
          <p:nvPr/>
        </p:nvSpPr>
        <p:spPr>
          <a:xfrm>
            <a:off x="12317133" y="39014"/>
            <a:ext cx="1959333" cy="81865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détaillé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 Android / Windows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FCD6928-5E45-4B9A-A3B6-9F970F2B76E3}"/>
              </a:ext>
            </a:extLst>
          </p:cNvPr>
          <p:cNvSpPr/>
          <p:nvPr/>
        </p:nvSpPr>
        <p:spPr>
          <a:xfrm>
            <a:off x="12317133" y="2490877"/>
            <a:ext cx="1959333" cy="23097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ériences professionnell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rnières expériences professionnelles détaillées</a:t>
            </a:r>
          </a:p>
          <a:p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ient – Rôle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ste des tâches réalisé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yer – Scrum Master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ment d’une application mobil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5148371-2919-42C1-A032-E44FF1D0C9AF}"/>
              </a:ext>
            </a:extLst>
          </p:cNvPr>
          <p:cNvGrpSpPr/>
          <p:nvPr/>
        </p:nvGrpSpPr>
        <p:grpSpPr>
          <a:xfrm>
            <a:off x="14873129" y="1964612"/>
            <a:ext cx="360000" cy="4875772"/>
            <a:chOff x="12355040" y="1954479"/>
            <a:chExt cx="360000" cy="487577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021903-CC88-473D-A538-2FF7B378D205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3EE177-C942-44E5-A0F2-727ACD09E567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3F2B650-8718-4CED-98DF-AC8A9BD7F555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3CBD640-8F0E-4862-BEE0-F23AE32C0E0B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1C2D37-B87A-4B05-8728-C4C96D8746FA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25620D2-4878-426A-B42C-FDD3BAED323E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6CD9EC8-BF38-4F59-B6CB-A4B1C41A8D83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C4048E-1BF5-47E5-B540-CE9AD2D68DC8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B02D1D-1E44-47AF-BDAF-F6728B46EE05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7A6CC90-3996-4168-A8D6-1644915A6EC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7327FF6-769D-4392-887D-5103C0C21A1E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0163D0-A7E2-427D-9FFE-12804B738611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1E3B64-D624-4E2D-B1C0-61DB65F18DA3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FC426C-105B-4E65-999C-99ADE972F3D8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B0EE909B-6CD2-4279-8090-F54858ECD89E}"/>
              </a:ext>
            </a:extLst>
          </p:cNvPr>
          <p:cNvSpPr/>
          <p:nvPr/>
        </p:nvSpPr>
        <p:spPr>
          <a:xfrm>
            <a:off x="-2053293" y="797474"/>
            <a:ext cx="1959333" cy="101777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itiales </a:t>
            </a:r>
          </a:p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emière lettre du prénom et 2 premières lettres du nom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pour Martin Dubois mettre MDU</a:t>
            </a:r>
          </a:p>
        </p:txBody>
      </p:sp>
      <p:sp>
        <p:nvSpPr>
          <p:cNvPr id="73" name="Rectangle : coins arrondis 72">
            <a:extLst>
              <a:ext uri="{FF2B5EF4-FFF2-40B4-BE49-F238E27FC236}">
                <a16:creationId xmlns:a16="http://schemas.microsoft.com/office/drawing/2014/main" id="{626AE789-C7F1-468F-94D8-0F7EFC3E6B1F}"/>
              </a:ext>
            </a:extLst>
          </p:cNvPr>
          <p:cNvSpPr/>
          <p:nvPr/>
        </p:nvSpPr>
        <p:spPr>
          <a:xfrm>
            <a:off x="-2034652" y="73852"/>
            <a:ext cx="1959333" cy="5604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</a:t>
            </a:r>
          </a:p>
        </p:txBody>
      </p:sp>
      <p:sp>
        <p:nvSpPr>
          <p:cNvPr id="74" name="Rectangle : coins arrondis 73">
            <a:extLst>
              <a:ext uri="{FF2B5EF4-FFF2-40B4-BE49-F238E27FC236}">
                <a16:creationId xmlns:a16="http://schemas.microsoft.com/office/drawing/2014/main" id="{52689C17-364E-4D40-8675-F2DA929583A3}"/>
              </a:ext>
            </a:extLst>
          </p:cNvPr>
          <p:cNvSpPr/>
          <p:nvPr/>
        </p:nvSpPr>
        <p:spPr>
          <a:xfrm>
            <a:off x="-2035165" y="3283410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étenc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avoir-faire technique et professionnel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avoir-être professionnel</a:t>
            </a:r>
          </a:p>
        </p:txBody>
      </p:sp>
      <p:sp>
        <p:nvSpPr>
          <p:cNvPr id="75" name="Rectangle : coins arrondis 74">
            <a:extLst>
              <a:ext uri="{FF2B5EF4-FFF2-40B4-BE49-F238E27FC236}">
                <a16:creationId xmlns:a16="http://schemas.microsoft.com/office/drawing/2014/main" id="{915E63AC-D72B-4CDA-8B49-80CD263B5154}"/>
              </a:ext>
            </a:extLst>
          </p:cNvPr>
          <p:cNvSpPr/>
          <p:nvPr/>
        </p:nvSpPr>
        <p:spPr>
          <a:xfrm>
            <a:off x="-2019675" y="2493928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76" name="Rectangle : coins arrondis 75">
            <a:extLst>
              <a:ext uri="{FF2B5EF4-FFF2-40B4-BE49-F238E27FC236}">
                <a16:creationId xmlns:a16="http://schemas.microsoft.com/office/drawing/2014/main" id="{C9B67ABF-FA18-4450-BB0D-5D0E97C5C2BD}"/>
              </a:ext>
            </a:extLst>
          </p:cNvPr>
          <p:cNvSpPr/>
          <p:nvPr/>
        </p:nvSpPr>
        <p:spPr>
          <a:xfrm>
            <a:off x="-2021051" y="5749986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gues et niveau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ons (A1-A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ermédiaire (B1-B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fessionnel (B2 – C1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rant (C1-C2)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9C609CD1-37D6-4D9E-8134-59C3C9EC8AC7}"/>
              </a:ext>
            </a:extLst>
          </p:cNvPr>
          <p:cNvSpPr/>
          <p:nvPr/>
        </p:nvSpPr>
        <p:spPr>
          <a:xfrm>
            <a:off x="-2031692" y="1968453"/>
            <a:ext cx="1959333" cy="40833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Junior jusqu’à 2 ans d’expérience</a:t>
            </a:r>
          </a:p>
        </p:txBody>
      </p:sp>
      <p:sp>
        <p:nvSpPr>
          <p:cNvPr id="56" name="Title Placeholder 1">
            <a:extLst>
              <a:ext uri="{FF2B5EF4-FFF2-40B4-BE49-F238E27FC236}">
                <a16:creationId xmlns:a16="http://schemas.microsoft.com/office/drawing/2014/main" id="{8E49DEEA-DF3B-491E-837B-FB8F092CB41B}"/>
              </a:ext>
            </a:extLst>
          </p:cNvPr>
          <p:cNvSpPr txBox="1">
            <a:spLocks/>
          </p:cNvSpPr>
          <p:nvPr/>
        </p:nvSpPr>
        <p:spPr>
          <a:xfrm>
            <a:off x="217423" y="109307"/>
            <a:ext cx="3358297" cy="110791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>
                <a:latin typeface="Ubuntu" panose="020B0804030602030204" pitchFamily="34" charset="0"/>
              </a:rPr>
              <a:t>Consultant Salesforce</a:t>
            </a:r>
          </a:p>
          <a:p>
            <a:pPr algn="just">
              <a:lnSpc>
                <a:spcPct val="100000"/>
              </a:lnSpc>
            </a:pPr>
            <a:endParaRPr lang="en-US" sz="1000">
              <a:latin typeface="Ubuntu" panose="020B0804030602030204" pitchFamily="34" charset="0"/>
            </a:endParaRPr>
          </a:p>
          <a:p>
            <a:pPr algn="just"/>
            <a:r>
              <a:rPr lang="en-US" sz="2400" b="1" i="1">
                <a:latin typeface="Ubuntu" panose="020B0804030602030204" pitchFamily="34" charset="0"/>
              </a:rPr>
              <a:t>ATO</a:t>
            </a: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9D98E087-BAD9-445F-8CA1-D524C7F51083}"/>
              </a:ext>
            </a:extLst>
          </p:cNvPr>
          <p:cNvSpPr/>
          <p:nvPr/>
        </p:nvSpPr>
        <p:spPr>
          <a:xfrm>
            <a:off x="4599877" y="1340792"/>
            <a:ext cx="2412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72889" y="1772840"/>
            <a:ext cx="1116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41127" y="2996952"/>
            <a:ext cx="126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39903" y="3247811"/>
            <a:ext cx="3767865" cy="8292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92075" algn="just">
              <a:lnSpc>
                <a:spcPct val="150000"/>
              </a:lnSpc>
              <a:buClr>
                <a:schemeClr val="accent2"/>
              </a:buClr>
              <a:tabLst>
                <a:tab pos="76200" algn="l"/>
              </a:tabLst>
              <a:defRPr/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Savoir-faire : analyse des besoins ; tests fonctionnels, analyse des change </a:t>
            </a:r>
            <a:r>
              <a:rPr lang="fr-FR" sz="1200" err="1">
                <a:solidFill>
                  <a:srgbClr val="15596B"/>
                </a:solidFill>
                <a:latin typeface="Ubuntu Light" panose="020B0304030602030204" pitchFamily="34" charset="0"/>
              </a:rPr>
              <a:t>requests</a:t>
            </a:r>
            <a:endParaRPr lang="fr-FR" sz="1200">
              <a:solidFill>
                <a:srgbClr val="15596B"/>
              </a:solidFill>
              <a:latin typeface="Ubuntu Light" panose="020B0304030602030204" pitchFamily="34" charset="0"/>
            </a:endParaRPr>
          </a:p>
          <a:p>
            <a:pPr marL="92075" algn="just">
              <a:lnSpc>
                <a:spcPct val="150000"/>
              </a:lnSpc>
              <a:buClr>
                <a:schemeClr val="accent2"/>
              </a:buClr>
              <a:tabLst>
                <a:tab pos="76200" algn="l"/>
              </a:tabLst>
              <a:defRPr/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Savoir –être : autonome, rigoureux, esprit d’équip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6614" y="5939381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Français   – Maternelle</a:t>
            </a:r>
          </a:p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nglais     – Intermédiaire</a:t>
            </a:r>
          </a:p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llemand – Notions</a:t>
            </a: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5" y="5661272"/>
            <a:ext cx="90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72889" y="1988840"/>
            <a:ext cx="3836243" cy="9150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2019</a:t>
            </a:r>
            <a: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</a:rPr>
              <a:t> –</a:t>
            </a: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 Master 1 développement Logiciel et Mobile</a:t>
            </a:r>
          </a:p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	Lyon | YNOV</a:t>
            </a:r>
          </a:p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2018 – Licence de Sciences Technologies et Santé</a:t>
            </a:r>
          </a:p>
          <a:p>
            <a:pPr algn="just"/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	Lyon | Sup’ La </a:t>
            </a:r>
            <a:r>
              <a:rPr lang="fr-FR" sz="1200" err="1">
                <a:solidFill>
                  <a:srgbClr val="15596B"/>
                </a:solidFill>
                <a:latin typeface="Ubuntu Light" panose="020B0304030602030204" pitchFamily="34" charset="0"/>
              </a:rPr>
              <a:t>mache</a:t>
            </a:r>
            <a:endParaRPr lang="en-US" sz="12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473372" y="1628800"/>
            <a:ext cx="7529684" cy="51845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ALGECO – Consultant Salesforce / Développeur </a:t>
            </a:r>
            <a:b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Besoin d’amélioration du CRM, intégration Salesforce à leur logiciel métier afin de répondre à leur besoin. Corrections des erreurs et ajouts de nouvelles fonctionnalités.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dministration CRM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ests fonctionnels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Qualification et gestion des incidents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Développement Lightning Web Component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Implémentation de nouveaux développements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Correction des erreurs de classes de tests</a:t>
            </a:r>
          </a:p>
          <a:p>
            <a:pPr marL="171450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DEUZZI Brignais – Développeur Java/Javascript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Le module d'inventaire présent sur le logiciel métier étant obsolète. Celui-ci devait être repris depuis le début pour être en adéquation avec le besoin de la branche support, qui utilisait l'inventaire pour connaître les différents appareils présent chez le client.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nalyse des besoins et compréhension</a:t>
            </a:r>
          </a:p>
          <a:p>
            <a:pPr marL="350837" lvl="1" indent="-171450">
              <a:lnSpc>
                <a:spcPct val="150000"/>
              </a:lnSpc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Modification du MCD existant ainsi que de la base de donnée pour l’adapter au nouveau module d’inventaire [JDBC – Java – Javascript – Oracle (SQL, PL/SQL)]</a:t>
            </a:r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B4C2BA59-6FAD-4DCE-9BA7-74BDCCFDFD4F}"/>
              </a:ext>
            </a:extLst>
          </p:cNvPr>
          <p:cNvSpPr/>
          <p:nvPr/>
        </p:nvSpPr>
        <p:spPr>
          <a:xfrm>
            <a:off x="-2053294" y="4396181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 des logiciels, technologies par ordre décroissant vis-à-vis de votre évaluation sur 5 pics</a:t>
            </a: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09D2B2FE-6996-4714-9717-C29D3C7FB960}"/>
              </a:ext>
            </a:extLst>
          </p:cNvPr>
          <p:cNvSpPr/>
          <p:nvPr/>
        </p:nvSpPr>
        <p:spPr>
          <a:xfrm>
            <a:off x="241127" y="4225790"/>
            <a:ext cx="126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1FDBC7B-6F60-4207-B121-82F977AA9B1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72889" y="4410972"/>
            <a:ext cx="1872917" cy="11062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Salesforce – dev &amp; fct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Lightning web Component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Apex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Javascrip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05FA5FB-CCD9-4CE1-A503-FBCA6E1AC3A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336539" y="4397195"/>
            <a:ext cx="591109" cy="11062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Java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GitLab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SS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HTML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4BABDDF-43B3-41D9-BFE9-1059099C3A3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225926" y="4410972"/>
            <a:ext cx="781842" cy="11062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SCRUM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JIRA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asyVista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0" algn="l"/>
              </a:tabLst>
              <a:defRPr/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Jenkins</a:t>
            </a:r>
          </a:p>
        </p:txBody>
      </p:sp>
      <p:sp>
        <p:nvSpPr>
          <p:cNvPr id="62" name="Rectangle à coins arrondis 158">
            <a:extLst>
              <a:ext uri="{FF2B5EF4-FFF2-40B4-BE49-F238E27FC236}">
                <a16:creationId xmlns:a16="http://schemas.microsoft.com/office/drawing/2014/main" id="{D1F52E58-FF24-4BA6-8692-76CC94F5205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71664" y="857665"/>
            <a:ext cx="1437350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>
                <a:solidFill>
                  <a:schemeClr val="bg1"/>
                </a:solidFill>
                <a:latin typeface="Ubuntu" panose="020B0804030602030204" pitchFamily="34" charset="0"/>
              </a:rPr>
              <a:t>1 année d’expérience</a:t>
            </a:r>
          </a:p>
        </p:txBody>
      </p:sp>
    </p:spTree>
    <p:extLst>
      <p:ext uri="{BB962C8B-B14F-4D97-AF65-F5344CB8AC3E}">
        <p14:creationId xmlns:p14="http://schemas.microsoft.com/office/powerpoint/2010/main" val="1221265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2075C7D-F570-42AB-A40F-879F8E04997B}"/>
              </a:ext>
            </a:extLst>
          </p:cNvPr>
          <p:cNvSpPr/>
          <p:nvPr/>
        </p:nvSpPr>
        <p:spPr>
          <a:xfrm>
            <a:off x="12317133" y="39014"/>
            <a:ext cx="1959333" cy="81865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détaillé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 Android / Windows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FCD6928-5E45-4B9A-A3B6-9F970F2B76E3}"/>
              </a:ext>
            </a:extLst>
          </p:cNvPr>
          <p:cNvSpPr/>
          <p:nvPr/>
        </p:nvSpPr>
        <p:spPr>
          <a:xfrm>
            <a:off x="12317133" y="2490877"/>
            <a:ext cx="1959333" cy="23097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ériences professionnell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rnières expériences professionnelles détaillées</a:t>
            </a:r>
          </a:p>
          <a:p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ient – Rôle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ste des tâches réalisé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yer – Scrum Master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ment d’une application mobil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5148371-2919-42C1-A032-E44FF1D0C9AF}"/>
              </a:ext>
            </a:extLst>
          </p:cNvPr>
          <p:cNvGrpSpPr/>
          <p:nvPr/>
        </p:nvGrpSpPr>
        <p:grpSpPr>
          <a:xfrm>
            <a:off x="14873129" y="1964612"/>
            <a:ext cx="360000" cy="4875772"/>
            <a:chOff x="12355040" y="1954479"/>
            <a:chExt cx="360000" cy="487577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021903-CC88-473D-A538-2FF7B378D205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3EE177-C942-44E5-A0F2-727ACD09E567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3F2B650-8718-4CED-98DF-AC8A9BD7F555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3CBD640-8F0E-4862-BEE0-F23AE32C0E0B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1C2D37-B87A-4B05-8728-C4C96D8746FA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25620D2-4878-426A-B42C-FDD3BAED323E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6CD9EC8-BF38-4F59-B6CB-A4B1C41A8D83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C4048E-1BF5-47E5-B540-CE9AD2D68DC8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B02D1D-1E44-47AF-BDAF-F6728B46EE05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7A6CC90-3996-4168-A8D6-1644915A6EC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7327FF6-769D-4392-887D-5103C0C21A1E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0163D0-A7E2-427D-9FFE-12804B738611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1E3B64-D624-4E2D-B1C0-61DB65F18DA3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FC426C-105B-4E65-999C-99ADE972F3D8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B0EE909B-6CD2-4279-8090-F54858ECD89E}"/>
              </a:ext>
            </a:extLst>
          </p:cNvPr>
          <p:cNvSpPr/>
          <p:nvPr/>
        </p:nvSpPr>
        <p:spPr>
          <a:xfrm>
            <a:off x="-2053293" y="797474"/>
            <a:ext cx="1959333" cy="61132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itial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pour Martin Dubois mettre MDU</a:t>
            </a:r>
          </a:p>
        </p:txBody>
      </p:sp>
      <p:sp>
        <p:nvSpPr>
          <p:cNvPr id="73" name="Rectangle : coins arrondis 72">
            <a:extLst>
              <a:ext uri="{FF2B5EF4-FFF2-40B4-BE49-F238E27FC236}">
                <a16:creationId xmlns:a16="http://schemas.microsoft.com/office/drawing/2014/main" id="{626AE789-C7F1-468F-94D8-0F7EFC3E6B1F}"/>
              </a:ext>
            </a:extLst>
          </p:cNvPr>
          <p:cNvSpPr/>
          <p:nvPr/>
        </p:nvSpPr>
        <p:spPr>
          <a:xfrm>
            <a:off x="-2053293" y="188640"/>
            <a:ext cx="1959333" cy="5604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9C609CD1-37D6-4D9E-8134-59C3C9EC8AC7}"/>
              </a:ext>
            </a:extLst>
          </p:cNvPr>
          <p:cNvSpPr/>
          <p:nvPr/>
        </p:nvSpPr>
        <p:spPr>
          <a:xfrm>
            <a:off x="-2020579" y="1606965"/>
            <a:ext cx="1959333" cy="40833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/>
                <a:cs typeface="Arial"/>
              </a:rPr>
              <a:t>Au-delà de 2 ans d’expérience. Grade B</a:t>
            </a:r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sp>
        <p:nvSpPr>
          <p:cNvPr id="56" name="Title Placeholder 1">
            <a:extLst>
              <a:ext uri="{FF2B5EF4-FFF2-40B4-BE49-F238E27FC236}">
                <a16:creationId xmlns:a16="http://schemas.microsoft.com/office/drawing/2014/main" id="{8E49DEEA-DF3B-491E-837B-FB8F092CB41B}"/>
              </a:ext>
            </a:extLst>
          </p:cNvPr>
          <p:cNvSpPr txBox="1">
            <a:spLocks/>
          </p:cNvSpPr>
          <p:nvPr/>
        </p:nvSpPr>
        <p:spPr>
          <a:xfrm>
            <a:off x="322365" y="412050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>
                <a:latin typeface="Ubuntu" panose="020B0804030602030204" pitchFamily="34" charset="0"/>
              </a:rPr>
              <a:t>Poste</a:t>
            </a:r>
          </a:p>
          <a:p>
            <a:pPr algn="just">
              <a:lnSpc>
                <a:spcPct val="100000"/>
              </a:lnSpc>
            </a:pPr>
            <a:endParaRPr lang="en-US" sz="1000">
              <a:latin typeface="Ubuntu" panose="020B0804030602030204" pitchFamily="34" charset="0"/>
            </a:endParaRPr>
          </a:p>
          <a:p>
            <a:pPr algn="just"/>
            <a:r>
              <a:rPr lang="en-US" sz="2400" b="1" i="1">
                <a:latin typeface="Ubuntu" panose="020B0804030602030204" pitchFamily="34" charset="0"/>
              </a:rPr>
              <a:t>INITIA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46683" y="4035617"/>
            <a:ext cx="1421875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36615" y="1641837"/>
            <a:ext cx="1442013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36615" y="2020794"/>
            <a:ext cx="5283321" cy="50994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171450" algn="just">
              <a:lnSpc>
                <a:spcPct val="150000"/>
              </a:lnSpc>
              <a:buClr>
                <a:schemeClr val="accent3"/>
              </a:buClr>
              <a:buFont typeface="Courier New" panose="02070309020205020404" pitchFamily="49" charset="0"/>
              <a:buChar char="o"/>
              <a:tabLst>
                <a:tab pos="76200" algn="l"/>
              </a:tabLst>
              <a:defRPr/>
            </a:pPr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Savoir-faire :</a:t>
            </a:r>
            <a:endParaRPr lang="fr-FR" sz="1100">
              <a:solidFill>
                <a:srgbClr val="15596B"/>
              </a:solidFill>
              <a:latin typeface="Ubuntu Light" panose="020B0304030602030204" pitchFamily="34" charset="0"/>
            </a:endParaRPr>
          </a:p>
          <a:p>
            <a:pPr marL="171450" indent="-171450" algn="just">
              <a:lnSpc>
                <a:spcPct val="150000"/>
              </a:lnSpc>
              <a:buClr>
                <a:schemeClr val="accent3"/>
              </a:buClr>
              <a:buFont typeface="Courier New" panose="02070309020205020404" pitchFamily="49" charset="0"/>
              <a:buChar char="o"/>
              <a:tabLst>
                <a:tab pos="76200" algn="l"/>
              </a:tabLst>
              <a:defRPr/>
            </a:pPr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Savoir-être :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6614" y="5867373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XXX – niveau</a:t>
            </a:r>
          </a:p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Xxx – niveau</a:t>
            </a:r>
          </a:p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XXX - niveau</a:t>
            </a:r>
            <a:endParaRPr lang="fr-FR" sz="11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5" y="5582307"/>
            <a:ext cx="1034849" cy="28506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75717" y="4396181"/>
            <a:ext cx="4091158" cy="4152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Année 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: Dernier </a:t>
            </a:r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diplôme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</a:rPr>
              <a:t>obtenu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Lieu – Ecole</a:t>
            </a:r>
            <a:endParaRPr lang="en-US" sz="11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599876" y="1964612"/>
            <a:ext cx="7403179" cy="47608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lient – Rôle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1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2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3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tc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lient – Rôle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1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2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3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tc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lient – Rôle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1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2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3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tc.</a:t>
            </a:r>
          </a:p>
        </p:txBody>
      </p:sp>
      <p:sp>
        <p:nvSpPr>
          <p:cNvPr id="108" name="Rectangle à coins arrondis 142">
            <a:extLst>
              <a:ext uri="{FF2B5EF4-FFF2-40B4-BE49-F238E27FC236}">
                <a16:creationId xmlns:a16="http://schemas.microsoft.com/office/drawing/2014/main" id="{32BB47EF-A9E0-4D56-AACD-FFEBBACF178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12024" y="303072"/>
            <a:ext cx="5184576" cy="450000"/>
          </a:xfrm>
          <a:prstGeom prst="roundRect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da-DK" sz="1400" b="1">
                <a:solidFill>
                  <a:schemeClr val="accent3"/>
                </a:solidFill>
                <a:latin typeface="Ubuntu" panose="020B0804030602030204" pitchFamily="34" charset="0"/>
              </a:rPr>
              <a:t>Intitulé poste détaillé</a:t>
            </a:r>
            <a:endParaRPr lang="en-US" sz="1400" b="1">
              <a:solidFill>
                <a:schemeClr val="accent3"/>
              </a:solidFill>
              <a:latin typeface="Ubuntu" panose="020B0804030602030204" pitchFamily="34" charset="0"/>
            </a:endParaRPr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84AB0B88-8FBE-4F73-9460-406699541EDC}"/>
              </a:ext>
            </a:extLst>
          </p:cNvPr>
          <p:cNvSpPr/>
          <p:nvPr/>
        </p:nvSpPr>
        <p:spPr>
          <a:xfrm>
            <a:off x="241127" y="3146125"/>
            <a:ext cx="1442013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DF849BC7-2B1B-4259-B005-F766AE43A7AE}"/>
              </a:ext>
            </a:extLst>
          </p:cNvPr>
          <p:cNvSpPr/>
          <p:nvPr/>
        </p:nvSpPr>
        <p:spPr>
          <a:xfrm>
            <a:off x="-2053294" y="3426752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 des logiciels, technologies par ordre décroissant vis-à-vis de votre évaluation sur 5 pics</a:t>
            </a: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7FC864C5-2CC9-4A44-AA31-01DB290CBD84}"/>
              </a:ext>
            </a:extLst>
          </p:cNvPr>
          <p:cNvSpPr/>
          <p:nvPr/>
        </p:nvSpPr>
        <p:spPr>
          <a:xfrm>
            <a:off x="-2021051" y="5749986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gues et niveau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ons (A1-A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ermédiaire (B1-B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fessionnel (B2 – C1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rant (C1-C2)</a:t>
            </a:r>
          </a:p>
        </p:txBody>
      </p:sp>
      <p:sp>
        <p:nvSpPr>
          <p:cNvPr id="70" name="Rectangle : coins arrondis 69">
            <a:extLst>
              <a:ext uri="{FF2B5EF4-FFF2-40B4-BE49-F238E27FC236}">
                <a16:creationId xmlns:a16="http://schemas.microsoft.com/office/drawing/2014/main" id="{40CF57C3-3CFC-4C73-B834-01EDFCA8BD88}"/>
              </a:ext>
            </a:extLst>
          </p:cNvPr>
          <p:cNvSpPr/>
          <p:nvPr/>
        </p:nvSpPr>
        <p:spPr>
          <a:xfrm>
            <a:off x="-2051822" y="4634919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71" name="Rectangle : coins arrondis 70">
            <a:extLst>
              <a:ext uri="{FF2B5EF4-FFF2-40B4-BE49-F238E27FC236}">
                <a16:creationId xmlns:a16="http://schemas.microsoft.com/office/drawing/2014/main" id="{E540DDE0-3768-4467-8BA1-FFB649E7E353}"/>
              </a:ext>
            </a:extLst>
          </p:cNvPr>
          <p:cNvSpPr/>
          <p:nvPr/>
        </p:nvSpPr>
        <p:spPr>
          <a:xfrm>
            <a:off x="4599877" y="1340792"/>
            <a:ext cx="2412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7" name="Rectangle à coins arrondis 158">
            <a:extLst>
              <a:ext uri="{FF2B5EF4-FFF2-40B4-BE49-F238E27FC236}">
                <a16:creationId xmlns:a16="http://schemas.microsoft.com/office/drawing/2014/main" id="{7C5166DB-260E-4842-A1F7-153DF45BE74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287688" y="857665"/>
            <a:ext cx="1728192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>
                <a:solidFill>
                  <a:schemeClr val="bg1"/>
                </a:solidFill>
                <a:latin typeface="Ubuntu" panose="020B0804030602030204" pitchFamily="34" charset="0"/>
              </a:rPr>
              <a:t>X années d’expériences</a:t>
            </a: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38185ABE-8565-4481-B6B2-B1F75E1A1390}"/>
              </a:ext>
            </a:extLst>
          </p:cNvPr>
          <p:cNvSpPr/>
          <p:nvPr/>
        </p:nvSpPr>
        <p:spPr>
          <a:xfrm>
            <a:off x="244896" y="4954329"/>
            <a:ext cx="1421875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22919836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2075C7D-F570-42AB-A40F-879F8E04997B}"/>
              </a:ext>
            </a:extLst>
          </p:cNvPr>
          <p:cNvSpPr/>
          <p:nvPr/>
        </p:nvSpPr>
        <p:spPr>
          <a:xfrm>
            <a:off x="12317133" y="39014"/>
            <a:ext cx="1959333" cy="81865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détaillé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 Android / Windows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FCD6928-5E45-4B9A-A3B6-9F970F2B76E3}"/>
              </a:ext>
            </a:extLst>
          </p:cNvPr>
          <p:cNvSpPr/>
          <p:nvPr/>
        </p:nvSpPr>
        <p:spPr>
          <a:xfrm>
            <a:off x="12317133" y="2490877"/>
            <a:ext cx="1959333" cy="23097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ériences professionnell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rnières expériences professionnelles détaillées</a:t>
            </a:r>
          </a:p>
          <a:p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ient – Rôle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ste des tâches réalisé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yer – Scrum Master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ment d’une application mobil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5148371-2919-42C1-A032-E44FF1D0C9AF}"/>
              </a:ext>
            </a:extLst>
          </p:cNvPr>
          <p:cNvGrpSpPr/>
          <p:nvPr/>
        </p:nvGrpSpPr>
        <p:grpSpPr>
          <a:xfrm>
            <a:off x="14873129" y="1964612"/>
            <a:ext cx="360000" cy="4875772"/>
            <a:chOff x="12355040" y="1954479"/>
            <a:chExt cx="360000" cy="487577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021903-CC88-473D-A538-2FF7B378D205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3EE177-C942-44E5-A0F2-727ACD09E567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3F2B650-8718-4CED-98DF-AC8A9BD7F555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3CBD640-8F0E-4862-BEE0-F23AE32C0E0B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1C2D37-B87A-4B05-8728-C4C96D8746FA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25620D2-4878-426A-B42C-FDD3BAED323E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6CD9EC8-BF38-4F59-B6CB-A4B1C41A8D83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C4048E-1BF5-47E5-B540-CE9AD2D68DC8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B02D1D-1E44-47AF-BDAF-F6728B46EE05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7A6CC90-3996-4168-A8D6-1644915A6EC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7327FF6-769D-4392-887D-5103C0C21A1E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0163D0-A7E2-427D-9FFE-12804B738611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1E3B64-D624-4E2D-B1C0-61DB65F18DA3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FC426C-105B-4E65-999C-99ADE972F3D8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B0EE909B-6CD2-4279-8090-F54858ECD89E}"/>
              </a:ext>
            </a:extLst>
          </p:cNvPr>
          <p:cNvSpPr/>
          <p:nvPr/>
        </p:nvSpPr>
        <p:spPr>
          <a:xfrm>
            <a:off x="-2053293" y="797474"/>
            <a:ext cx="1959333" cy="61132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itial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pour Martin Dubois mettre MDU</a:t>
            </a:r>
          </a:p>
        </p:txBody>
      </p:sp>
      <p:sp>
        <p:nvSpPr>
          <p:cNvPr id="73" name="Rectangle : coins arrondis 72">
            <a:extLst>
              <a:ext uri="{FF2B5EF4-FFF2-40B4-BE49-F238E27FC236}">
                <a16:creationId xmlns:a16="http://schemas.microsoft.com/office/drawing/2014/main" id="{626AE789-C7F1-468F-94D8-0F7EFC3E6B1F}"/>
              </a:ext>
            </a:extLst>
          </p:cNvPr>
          <p:cNvSpPr/>
          <p:nvPr/>
        </p:nvSpPr>
        <p:spPr>
          <a:xfrm>
            <a:off x="-2053293" y="188640"/>
            <a:ext cx="1959333" cy="5604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9C609CD1-37D6-4D9E-8134-59C3C9EC8AC7}"/>
              </a:ext>
            </a:extLst>
          </p:cNvPr>
          <p:cNvSpPr/>
          <p:nvPr/>
        </p:nvSpPr>
        <p:spPr>
          <a:xfrm>
            <a:off x="-2053293" y="1482607"/>
            <a:ext cx="1959333" cy="40833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u-delà de 2 ans d’expériences. Grade B</a:t>
            </a:r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itle Placeholder 1">
            <a:extLst>
              <a:ext uri="{FF2B5EF4-FFF2-40B4-BE49-F238E27FC236}">
                <a16:creationId xmlns:a16="http://schemas.microsoft.com/office/drawing/2014/main" id="{8E49DEEA-DF3B-491E-837B-FB8F092CB41B}"/>
              </a:ext>
            </a:extLst>
          </p:cNvPr>
          <p:cNvSpPr txBox="1">
            <a:spLocks/>
          </p:cNvSpPr>
          <p:nvPr/>
        </p:nvSpPr>
        <p:spPr>
          <a:xfrm>
            <a:off x="322365" y="412050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>
                <a:latin typeface="Ubuntu" panose="020B0804030602030204" pitchFamily="34" charset="0"/>
              </a:rPr>
              <a:t>Chef de </a:t>
            </a:r>
            <a:r>
              <a:rPr lang="en-US" err="1">
                <a:latin typeface="Ubuntu" panose="020B0804030602030204" pitchFamily="34" charset="0"/>
              </a:rPr>
              <a:t>projet</a:t>
            </a:r>
            <a:endParaRPr lang="en-US">
              <a:latin typeface="Ubuntu" panose="020B0804030602030204" pitchFamily="34" charset="0"/>
            </a:endParaRPr>
          </a:p>
          <a:p>
            <a:pPr algn="just">
              <a:lnSpc>
                <a:spcPct val="100000"/>
              </a:lnSpc>
            </a:pPr>
            <a:endParaRPr lang="en-US" sz="1000">
              <a:latin typeface="Ubuntu" panose="020B0804030602030204" pitchFamily="34" charset="0"/>
            </a:endParaRPr>
          </a:p>
          <a:p>
            <a:pPr algn="just"/>
            <a:r>
              <a:rPr lang="en-US" sz="2400" b="1" i="1">
                <a:latin typeface="Ubuntu" panose="020B0804030602030204" pitchFamily="34" charset="0"/>
              </a:rPr>
              <a:t>GDA</a:t>
            </a: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9D98E087-BAD9-445F-8CA1-D524C7F51083}"/>
              </a:ext>
            </a:extLst>
          </p:cNvPr>
          <p:cNvSpPr/>
          <p:nvPr/>
        </p:nvSpPr>
        <p:spPr>
          <a:xfrm>
            <a:off x="4737906" y="341350"/>
            <a:ext cx="2412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165432" y="4471728"/>
            <a:ext cx="108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36615" y="1700808"/>
            <a:ext cx="126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19906" y="1914950"/>
            <a:ext cx="5283321" cy="101706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171450" algn="just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Savoir-faire : animation de workshops</a:t>
            </a:r>
          </a:p>
          <a:p>
            <a:pPr marL="171450" indent="-171450" algn="just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Certifications :</a:t>
            </a:r>
          </a:p>
          <a:p>
            <a:pPr marL="628650" lvl="1" indent="-171450" algn="just">
              <a:lnSpc>
                <a:spcPct val="150000"/>
              </a:lnSpc>
              <a:buClr>
                <a:schemeClr val="accent5"/>
              </a:buClr>
              <a:buSzPct val="50000"/>
              <a:buFont typeface="Wingdings" panose="05000000000000000000" pitchFamily="2" charset="2"/>
              <a:buChar char="v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Agile Product </a:t>
            </a:r>
            <a:r>
              <a:rPr lang="fr-FR" sz="1100" err="1">
                <a:solidFill>
                  <a:srgbClr val="15596B"/>
                </a:solidFill>
                <a:latin typeface="Ubuntu Light" panose="020B0304030602030204" pitchFamily="34" charset="0"/>
              </a:rPr>
              <a:t>Owner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(PSPO-1) – 08/2018</a:t>
            </a:r>
          </a:p>
          <a:p>
            <a:pPr marL="628650" lvl="1" indent="-171450" algn="just">
              <a:lnSpc>
                <a:spcPct val="150000"/>
              </a:lnSpc>
              <a:buClr>
                <a:schemeClr val="accent5"/>
              </a:buClr>
              <a:buSzPct val="50000"/>
              <a:buFont typeface="Wingdings" panose="05000000000000000000" pitchFamily="2" charset="2"/>
              <a:buChar char="v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Google Marketing </a:t>
            </a:r>
            <a:r>
              <a:rPr lang="fr-FR" sz="1100" err="1">
                <a:solidFill>
                  <a:srgbClr val="15596B"/>
                </a:solidFill>
                <a:latin typeface="Ubuntu Light" panose="020B0304030602030204" pitchFamily="34" charset="0"/>
              </a:rPr>
              <a:t>Foundation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– 01/2017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6614" y="6011389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>
              <a:lnSpc>
                <a:spcPct val="150000"/>
              </a:lnSpc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Français – Maternelle</a:t>
            </a:r>
          </a:p>
          <a:p>
            <a:pPr algn="just">
              <a:lnSpc>
                <a:spcPct val="150000"/>
              </a:lnSpc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Anglais – Professionnel</a:t>
            </a: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5" y="5877296"/>
            <a:ext cx="90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56542" y="4683982"/>
            <a:ext cx="4091158" cy="68925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>
              <a:lnSpc>
                <a:spcPct val="150000"/>
              </a:lnSpc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2017 – Master Business management</a:t>
            </a:r>
          </a:p>
          <a:p>
            <a:pPr algn="just">
              <a:lnSpc>
                <a:spcPct val="150000"/>
              </a:lnSpc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2015 – </a:t>
            </a:r>
            <a:r>
              <a:rPr lang="fr-FR" sz="1100" err="1">
                <a:solidFill>
                  <a:srgbClr val="15596B"/>
                </a:solidFill>
                <a:latin typeface="Ubuntu Light" panose="020B0304030602030204" pitchFamily="34" charset="0"/>
              </a:rPr>
              <a:t>Bachelor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Technologies de l’information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591509" y="612425"/>
            <a:ext cx="7037351" cy="622795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apgemini – Consultant fonctionnel, chef de projet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éploiement e-commerce à l’international dans plus de 30 pays.</a:t>
            </a:r>
          </a:p>
          <a:p>
            <a:pPr marL="271463" lvl="1" indent="-180975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Réalisation études et spécifications relatives à la plateforme et besoins utilisateurs</a:t>
            </a:r>
          </a:p>
          <a:p>
            <a:pPr marL="271463" lvl="1" indent="-180975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laboration et suivi des KPI de réalisation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rédit Agricole – Project manager &amp; change management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onduite du changement dans le cadre de l’arrivée de la DSN au sein du Crédit Agricole Consumer Finance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Définition des processus en relation avec les acteurs clés de l’entité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Recette et mise en œuvre des processus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Réalisation des documents internes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Formation des utilisateurs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Recette avec les acteurs externes et entités du groupe Crédit Agricole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justement des objectifs et des charges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Reporting interne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NooliTIC</a:t>
            </a: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– Développeur Internet of </a:t>
            </a:r>
            <a:r>
              <a:rPr lang="fr-FR" sz="12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Things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éalisation de projets divers sur le thème des objets connectés dans l'environnement </a:t>
            </a:r>
            <a:r>
              <a:rPr lang="fr-FR" sz="12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ontiki</a:t>
            </a: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et TI et spécialement sur la problématique IPV6/IPV4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Développement des capteurs et des Beacons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 err="1">
                <a:solidFill>
                  <a:srgbClr val="15596B"/>
                </a:solidFill>
                <a:latin typeface="Ubuntu Light" panose="020B0304030602030204" pitchFamily="34" charset="0"/>
              </a:rPr>
              <a:t>Routing</a:t>
            </a: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 des données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Création d’un algorithme de localisation</a:t>
            </a:r>
          </a:p>
          <a:p>
            <a:pPr marL="271463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Création plateforme web de visualisation et de configuration des capteurs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Isagri</a:t>
            </a: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– Auditeur interne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Evaluer l'impact d'un changement de </a:t>
            </a:r>
            <a:r>
              <a:rPr lang="fr-FR" sz="12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Framework.Net</a:t>
            </a: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sur une gamme complète de logiciels</a:t>
            </a:r>
          </a:p>
          <a:p>
            <a:pPr marL="271463" lvl="1" indent="-27146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nalyse d'un changement de </a:t>
            </a:r>
            <a:r>
              <a:rPr lang="fr-FR" sz="1200" err="1">
                <a:solidFill>
                  <a:srgbClr val="15596B"/>
                </a:solidFill>
                <a:latin typeface="Ubuntu Light" panose="020B0304030602030204" pitchFamily="34" charset="0"/>
              </a:rPr>
              <a:t>framework.Net</a:t>
            </a: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, panel de plus de 10 applications (+115 000 utilisateurs)</a:t>
            </a:r>
          </a:p>
          <a:p>
            <a:pPr marL="271463" lvl="1" indent="-27146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nalyse comparative entre .Net 3.5 et 4.5</a:t>
            </a:r>
          </a:p>
          <a:p>
            <a:pPr marL="271463" lvl="1" indent="-27146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nalyse des régressions, des évolutions techniques et de performances</a:t>
            </a:r>
          </a:p>
          <a:p>
            <a:pPr marL="271463" lvl="1" indent="-27146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7981950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Analyse implémentation du </a:t>
            </a:r>
            <a:r>
              <a:rPr lang="fr-FR" sz="1200" err="1">
                <a:solidFill>
                  <a:srgbClr val="15596B"/>
                </a:solidFill>
                <a:latin typeface="Ubuntu Light" panose="020B0304030602030204" pitchFamily="34" charset="0"/>
              </a:rPr>
              <a:t>testing</a:t>
            </a: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 relatif à la migration</a:t>
            </a:r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84AB0B88-8FBE-4F73-9460-406699541EDC}"/>
              </a:ext>
            </a:extLst>
          </p:cNvPr>
          <p:cNvSpPr/>
          <p:nvPr/>
        </p:nvSpPr>
        <p:spPr>
          <a:xfrm>
            <a:off x="169944" y="3031544"/>
            <a:ext cx="1224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DF849BC7-2B1B-4259-B005-F766AE43A7AE}"/>
              </a:ext>
            </a:extLst>
          </p:cNvPr>
          <p:cNvSpPr/>
          <p:nvPr/>
        </p:nvSpPr>
        <p:spPr>
          <a:xfrm>
            <a:off x="-2053294" y="3426752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 des logiciels, technologies par ordre décroissant vis-à-vis de votre évaluation sur 5 pic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97BBB8D5-2519-4804-8C85-BC2E80EAEADB}"/>
              </a:ext>
            </a:extLst>
          </p:cNvPr>
          <p:cNvSpPr/>
          <p:nvPr/>
        </p:nvSpPr>
        <p:spPr>
          <a:xfrm>
            <a:off x="-2053293" y="1978457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7FC864C5-2CC9-4A44-AA31-01DB290CBD84}"/>
              </a:ext>
            </a:extLst>
          </p:cNvPr>
          <p:cNvSpPr/>
          <p:nvPr/>
        </p:nvSpPr>
        <p:spPr>
          <a:xfrm>
            <a:off x="-2021051" y="5749986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gues et niveau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ons (A1-A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ermédiaire (B1-B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fessionnel (B2 – C1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rant (C1-C2)</a:t>
            </a:r>
          </a:p>
        </p:txBody>
      </p:sp>
      <p:sp>
        <p:nvSpPr>
          <p:cNvPr id="70" name="Rectangle : coins arrondis 69">
            <a:extLst>
              <a:ext uri="{FF2B5EF4-FFF2-40B4-BE49-F238E27FC236}">
                <a16:creationId xmlns:a16="http://schemas.microsoft.com/office/drawing/2014/main" id="{40CF57C3-3CFC-4C73-B834-01EDFCA8BD88}"/>
              </a:ext>
            </a:extLst>
          </p:cNvPr>
          <p:cNvSpPr/>
          <p:nvPr/>
        </p:nvSpPr>
        <p:spPr>
          <a:xfrm>
            <a:off x="-2051822" y="4634919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CE6DD61-1B56-4FED-BC6B-24E7F7953EE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64177" y="3319576"/>
            <a:ext cx="1014537" cy="101706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Suite Office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JIRA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Confluence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Magento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B1BE15D-92ED-4891-A9D7-2256EC55BD7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579519" y="3459677"/>
            <a:ext cx="1817316" cy="7631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Bluetooth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Beacons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Ants</a:t>
            </a: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 performance profiler</a:t>
            </a:r>
          </a:p>
        </p:txBody>
      </p:sp>
      <p:sp>
        <p:nvSpPr>
          <p:cNvPr id="61" name="Rectangle à coins arrondis 158">
            <a:extLst>
              <a:ext uri="{FF2B5EF4-FFF2-40B4-BE49-F238E27FC236}">
                <a16:creationId xmlns:a16="http://schemas.microsoft.com/office/drawing/2014/main" id="{DCBF1718-D1F1-45C4-8134-B3BEB9FBBBB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058796" y="857665"/>
            <a:ext cx="1450218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>
                <a:solidFill>
                  <a:schemeClr val="bg1"/>
                </a:solidFill>
                <a:latin typeface="Ubuntu" panose="020B0804030602030204" pitchFamily="34" charset="0"/>
              </a:rPr>
              <a:t>X années d’expériences</a:t>
            </a: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42C66B5A-0F85-4246-AC19-C37D17F26610}"/>
              </a:ext>
            </a:extLst>
          </p:cNvPr>
          <p:cNvSpPr/>
          <p:nvPr/>
        </p:nvSpPr>
        <p:spPr>
          <a:xfrm>
            <a:off x="175934" y="5432471"/>
            <a:ext cx="1421875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29239888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2075C7D-F570-42AB-A40F-879F8E04997B}"/>
              </a:ext>
            </a:extLst>
          </p:cNvPr>
          <p:cNvSpPr/>
          <p:nvPr/>
        </p:nvSpPr>
        <p:spPr>
          <a:xfrm>
            <a:off x="12317133" y="39014"/>
            <a:ext cx="1959333" cy="81865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détaillé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 Android / Windows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FCD6928-5E45-4B9A-A3B6-9F970F2B76E3}"/>
              </a:ext>
            </a:extLst>
          </p:cNvPr>
          <p:cNvSpPr/>
          <p:nvPr/>
        </p:nvSpPr>
        <p:spPr>
          <a:xfrm>
            <a:off x="12317133" y="2490877"/>
            <a:ext cx="1959333" cy="23097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ériences professionnell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rnières expériences professionnelles détaillées</a:t>
            </a:r>
          </a:p>
          <a:p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ient – Rôle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ste des tâches réalisé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yer – Scrum Master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ment d’une application mobil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5148371-2919-42C1-A032-E44FF1D0C9AF}"/>
              </a:ext>
            </a:extLst>
          </p:cNvPr>
          <p:cNvGrpSpPr/>
          <p:nvPr/>
        </p:nvGrpSpPr>
        <p:grpSpPr>
          <a:xfrm>
            <a:off x="14873129" y="1964612"/>
            <a:ext cx="360000" cy="4875772"/>
            <a:chOff x="12355040" y="1954479"/>
            <a:chExt cx="360000" cy="487577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021903-CC88-473D-A538-2FF7B378D205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3EE177-C942-44E5-A0F2-727ACD09E567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3F2B650-8718-4CED-98DF-AC8A9BD7F555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3CBD640-8F0E-4862-BEE0-F23AE32C0E0B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1C2D37-B87A-4B05-8728-C4C96D8746FA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25620D2-4878-426A-B42C-FDD3BAED323E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6CD9EC8-BF38-4F59-B6CB-A4B1C41A8D83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C4048E-1BF5-47E5-B540-CE9AD2D68DC8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B02D1D-1E44-47AF-BDAF-F6728B46EE05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7A6CC90-3996-4168-A8D6-1644915A6EC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7327FF6-769D-4392-887D-5103C0C21A1E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0163D0-A7E2-427D-9FFE-12804B738611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1E3B64-D624-4E2D-B1C0-61DB65F18DA3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FC426C-105B-4E65-999C-99ADE972F3D8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B0EE909B-6CD2-4279-8090-F54858ECD89E}"/>
              </a:ext>
            </a:extLst>
          </p:cNvPr>
          <p:cNvSpPr/>
          <p:nvPr/>
        </p:nvSpPr>
        <p:spPr>
          <a:xfrm>
            <a:off x="-2053293" y="797474"/>
            <a:ext cx="1959333" cy="61132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itial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pour Martin Dubois mettre MDU</a:t>
            </a:r>
          </a:p>
        </p:txBody>
      </p:sp>
      <p:sp>
        <p:nvSpPr>
          <p:cNvPr id="73" name="Rectangle : coins arrondis 72">
            <a:extLst>
              <a:ext uri="{FF2B5EF4-FFF2-40B4-BE49-F238E27FC236}">
                <a16:creationId xmlns:a16="http://schemas.microsoft.com/office/drawing/2014/main" id="{626AE789-C7F1-468F-94D8-0F7EFC3E6B1F}"/>
              </a:ext>
            </a:extLst>
          </p:cNvPr>
          <p:cNvSpPr/>
          <p:nvPr/>
        </p:nvSpPr>
        <p:spPr>
          <a:xfrm>
            <a:off x="-2053293" y="188640"/>
            <a:ext cx="1959333" cy="5604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</a:t>
            </a:r>
          </a:p>
        </p:txBody>
      </p:sp>
      <p:sp>
        <p:nvSpPr>
          <p:cNvPr id="56" name="Title Placeholder 1">
            <a:extLst>
              <a:ext uri="{FF2B5EF4-FFF2-40B4-BE49-F238E27FC236}">
                <a16:creationId xmlns:a16="http://schemas.microsoft.com/office/drawing/2014/main" id="{8E49DEEA-DF3B-491E-837B-FB8F092CB41B}"/>
              </a:ext>
            </a:extLst>
          </p:cNvPr>
          <p:cNvSpPr txBox="1">
            <a:spLocks/>
          </p:cNvSpPr>
          <p:nvPr/>
        </p:nvSpPr>
        <p:spPr>
          <a:xfrm>
            <a:off x="322365" y="412050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>
                <a:latin typeface="Ubuntu" panose="020B0804030602030204" pitchFamily="34" charset="0"/>
              </a:rPr>
              <a:t>Poste</a:t>
            </a:r>
          </a:p>
          <a:p>
            <a:pPr algn="just">
              <a:lnSpc>
                <a:spcPct val="100000"/>
              </a:lnSpc>
            </a:pPr>
            <a:endParaRPr lang="en-US" sz="1000">
              <a:latin typeface="Ubuntu" panose="020B0804030602030204" pitchFamily="34" charset="0"/>
            </a:endParaRPr>
          </a:p>
          <a:p>
            <a:pPr algn="just"/>
            <a:r>
              <a:rPr lang="en-US" sz="2400" b="1" i="1">
                <a:latin typeface="Ubuntu" panose="020B0804030602030204" pitchFamily="34" charset="0"/>
              </a:rPr>
              <a:t>INITIA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57420" y="5267327"/>
            <a:ext cx="108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36615" y="1641837"/>
            <a:ext cx="126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36615" y="2020794"/>
            <a:ext cx="5283321" cy="50994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171450" algn="just">
              <a:lnSpc>
                <a:spcPct val="150000"/>
              </a:lnSpc>
              <a:buClr>
                <a:schemeClr val="accent3"/>
              </a:buClr>
              <a:buFont typeface="Courier New" panose="02070309020205020404" pitchFamily="49" charset="0"/>
              <a:buChar char="o"/>
              <a:tabLst>
                <a:tab pos="76200" algn="l"/>
              </a:tabLst>
              <a:defRPr/>
            </a:pPr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Savoir-faire :</a:t>
            </a:r>
            <a:endParaRPr lang="fr-FR" sz="1100">
              <a:solidFill>
                <a:srgbClr val="15596B"/>
              </a:solidFill>
              <a:latin typeface="Ubuntu Light" panose="020B0304030602030204" pitchFamily="34" charset="0"/>
            </a:endParaRPr>
          </a:p>
          <a:p>
            <a:pPr marL="171450" indent="-171450" algn="just">
              <a:lnSpc>
                <a:spcPct val="150000"/>
              </a:lnSpc>
              <a:buClr>
                <a:schemeClr val="accent3"/>
              </a:buClr>
              <a:buFont typeface="Courier New" panose="02070309020205020404" pitchFamily="49" charset="0"/>
              <a:buChar char="o"/>
              <a:tabLst>
                <a:tab pos="76200" algn="l"/>
              </a:tabLst>
              <a:defRPr/>
            </a:pPr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Savoir-être :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03223" y="4605539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XXX – niveau</a:t>
            </a:r>
          </a:p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Xxx – niveau</a:t>
            </a:r>
          </a:p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XXX - niveau</a:t>
            </a:r>
            <a:endParaRPr lang="fr-FR" sz="11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4" y="4314726"/>
            <a:ext cx="964852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56783" y="6220866"/>
            <a:ext cx="4091158" cy="4152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Année 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: Dernier </a:t>
            </a:r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diplôme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</a:rPr>
              <a:t>obtenu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 Lieu – Ecole</a:t>
            </a:r>
            <a:endParaRPr lang="en-US" sz="11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599876" y="1964612"/>
            <a:ext cx="7403179" cy="47608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lient – Rôle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1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2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3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tc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lient – Rôle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1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2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3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tc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lient – Rôle </a:t>
            </a:r>
            <a:br>
              <a:rPr lang="fr-FR" sz="1200" b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1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2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Tâche 3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</a:rPr>
              <a:t>Etc.</a:t>
            </a:r>
          </a:p>
        </p:txBody>
      </p:sp>
      <p:sp>
        <p:nvSpPr>
          <p:cNvPr id="108" name="Rectangle à coins arrondis 142">
            <a:extLst>
              <a:ext uri="{FF2B5EF4-FFF2-40B4-BE49-F238E27FC236}">
                <a16:creationId xmlns:a16="http://schemas.microsoft.com/office/drawing/2014/main" id="{32BB47EF-A9E0-4D56-AACD-FFEBBACF178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12024" y="303072"/>
            <a:ext cx="5184576" cy="450000"/>
          </a:xfrm>
          <a:prstGeom prst="roundRect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da-DK" sz="1400" b="1">
                <a:solidFill>
                  <a:schemeClr val="accent3"/>
                </a:solidFill>
                <a:latin typeface="Ubuntu" panose="020B0804030602030204" pitchFamily="34" charset="0"/>
              </a:rPr>
              <a:t>Intitulé poste détaillé</a:t>
            </a:r>
            <a:endParaRPr lang="en-US" sz="1400" b="1">
              <a:solidFill>
                <a:schemeClr val="accent3"/>
              </a:solidFill>
              <a:latin typeface="Ubuntu" panose="020B0804030602030204" pitchFamily="34" charset="0"/>
            </a:endParaRPr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84AB0B88-8FBE-4F73-9460-406699541EDC}"/>
              </a:ext>
            </a:extLst>
          </p:cNvPr>
          <p:cNvSpPr/>
          <p:nvPr/>
        </p:nvSpPr>
        <p:spPr>
          <a:xfrm>
            <a:off x="241127" y="3146125"/>
            <a:ext cx="1224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DF849BC7-2B1B-4259-B005-F766AE43A7AE}"/>
              </a:ext>
            </a:extLst>
          </p:cNvPr>
          <p:cNvSpPr/>
          <p:nvPr/>
        </p:nvSpPr>
        <p:spPr>
          <a:xfrm>
            <a:off x="-2053294" y="3426752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 des logiciels, technologies par ordre décroissant vis-à-vis de votre évaluation sur 5 pics</a:t>
            </a: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7FC864C5-2CC9-4A44-AA31-01DB290CBD84}"/>
              </a:ext>
            </a:extLst>
          </p:cNvPr>
          <p:cNvSpPr/>
          <p:nvPr/>
        </p:nvSpPr>
        <p:spPr>
          <a:xfrm>
            <a:off x="-2070188" y="4630180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gues et niveau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ons (A1-A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ermédiaire (B1-B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fessionnel (B2 – C1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rant (C1-C2)</a:t>
            </a:r>
          </a:p>
        </p:txBody>
      </p:sp>
      <p:sp>
        <p:nvSpPr>
          <p:cNvPr id="70" name="Rectangle : coins arrondis 69">
            <a:extLst>
              <a:ext uri="{FF2B5EF4-FFF2-40B4-BE49-F238E27FC236}">
                <a16:creationId xmlns:a16="http://schemas.microsoft.com/office/drawing/2014/main" id="{40CF57C3-3CFC-4C73-B834-01EDFCA8BD88}"/>
              </a:ext>
            </a:extLst>
          </p:cNvPr>
          <p:cNvSpPr/>
          <p:nvPr/>
        </p:nvSpPr>
        <p:spPr>
          <a:xfrm>
            <a:off x="-1969042" y="5783193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71" name="Rectangle : coins arrondis 70">
            <a:extLst>
              <a:ext uri="{FF2B5EF4-FFF2-40B4-BE49-F238E27FC236}">
                <a16:creationId xmlns:a16="http://schemas.microsoft.com/office/drawing/2014/main" id="{E540DDE0-3768-4467-8BA1-FFB649E7E353}"/>
              </a:ext>
            </a:extLst>
          </p:cNvPr>
          <p:cNvSpPr/>
          <p:nvPr/>
        </p:nvSpPr>
        <p:spPr>
          <a:xfrm>
            <a:off x="4599877" y="1340792"/>
            <a:ext cx="2412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77B9979F-7B4F-4F53-AAB7-A9B779AD87E1}"/>
              </a:ext>
            </a:extLst>
          </p:cNvPr>
          <p:cNvSpPr/>
          <p:nvPr/>
        </p:nvSpPr>
        <p:spPr>
          <a:xfrm>
            <a:off x="-2073496" y="1647515"/>
            <a:ext cx="1959333" cy="40833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431925" algn="l"/>
              </a:tabLst>
            </a:pPr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Grade C ou +</a:t>
            </a:r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à coins arrondis 158">
            <a:extLst>
              <a:ext uri="{FF2B5EF4-FFF2-40B4-BE49-F238E27FC236}">
                <a16:creationId xmlns:a16="http://schemas.microsoft.com/office/drawing/2014/main" id="{006FCB01-2B6D-4704-A8BC-A85566A1025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58796" y="857665"/>
            <a:ext cx="1450218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>
                <a:solidFill>
                  <a:schemeClr val="bg1"/>
                </a:solidFill>
                <a:latin typeface="Ubuntu" panose="020B0804030602030204" pitchFamily="34" charset="0"/>
              </a:rPr>
              <a:t>X années d’expériences</a:t>
            </a:r>
          </a:p>
        </p:txBody>
      </p:sp>
      <p:sp>
        <p:nvSpPr>
          <p:cNvPr id="37" name="Rectangle : coins arrondis 36">
            <a:extLst>
              <a:ext uri="{FF2B5EF4-FFF2-40B4-BE49-F238E27FC236}">
                <a16:creationId xmlns:a16="http://schemas.microsoft.com/office/drawing/2014/main" id="{15BFFA4F-7093-4189-A3AA-2075A1033DA4}"/>
              </a:ext>
            </a:extLst>
          </p:cNvPr>
          <p:cNvSpPr/>
          <p:nvPr/>
        </p:nvSpPr>
        <p:spPr>
          <a:xfrm>
            <a:off x="279475" y="5725330"/>
            <a:ext cx="1421875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216923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52075C7D-F570-42AB-A40F-879F8E04997B}"/>
              </a:ext>
            </a:extLst>
          </p:cNvPr>
          <p:cNvSpPr/>
          <p:nvPr/>
        </p:nvSpPr>
        <p:spPr>
          <a:xfrm>
            <a:off x="12317133" y="39014"/>
            <a:ext cx="1959333" cy="81865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détaillé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 Android / Windows</a:t>
            </a: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FFCD6928-5E45-4B9A-A3B6-9F970F2B76E3}"/>
              </a:ext>
            </a:extLst>
          </p:cNvPr>
          <p:cNvSpPr/>
          <p:nvPr/>
        </p:nvSpPr>
        <p:spPr>
          <a:xfrm>
            <a:off x="12317133" y="2490877"/>
            <a:ext cx="1959333" cy="23097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ériences professionnell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rnières expériences professionnelles détaillées</a:t>
            </a:r>
          </a:p>
          <a:p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ient – Rôle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ste des tâches réalisées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yer – Scrum Master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ment d’une application mobile</a:t>
            </a:r>
          </a:p>
        </p:txBody>
      </p: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5148371-2919-42C1-A032-E44FF1D0C9AF}"/>
              </a:ext>
            </a:extLst>
          </p:cNvPr>
          <p:cNvGrpSpPr/>
          <p:nvPr/>
        </p:nvGrpSpPr>
        <p:grpSpPr>
          <a:xfrm>
            <a:off x="14873129" y="1964612"/>
            <a:ext cx="360000" cy="4875772"/>
            <a:chOff x="12355040" y="1954479"/>
            <a:chExt cx="360000" cy="487577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021903-CC88-473D-A538-2FF7B378D205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B3EE177-C942-44E5-A0F2-727ACD09E567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3F2B650-8718-4CED-98DF-AC8A9BD7F555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3CBD640-8F0E-4862-BEE0-F23AE32C0E0B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1C2D37-B87A-4B05-8728-C4C96D8746FA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25620D2-4878-426A-B42C-FDD3BAED323E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6CD9EC8-BF38-4F59-B6CB-A4B1C41A8D83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C4048E-1BF5-47E5-B540-CE9AD2D68DC8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B02D1D-1E44-47AF-BDAF-F6728B46EE05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7A6CC90-3996-4168-A8D6-1644915A6EC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7327FF6-769D-4392-887D-5103C0C21A1E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0163D0-A7E2-427D-9FFE-12804B738611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71E3B64-D624-4E2D-B1C0-61DB65F18DA3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FC426C-105B-4E65-999C-99ADE972F3D8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B0EE909B-6CD2-4279-8090-F54858ECD89E}"/>
              </a:ext>
            </a:extLst>
          </p:cNvPr>
          <p:cNvSpPr/>
          <p:nvPr/>
        </p:nvSpPr>
        <p:spPr>
          <a:xfrm>
            <a:off x="-2053293" y="797474"/>
            <a:ext cx="1959333" cy="61132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itial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pour Martin Dubois mettre MDU</a:t>
            </a:r>
          </a:p>
        </p:txBody>
      </p:sp>
      <p:sp>
        <p:nvSpPr>
          <p:cNvPr id="73" name="Rectangle : coins arrondis 72">
            <a:extLst>
              <a:ext uri="{FF2B5EF4-FFF2-40B4-BE49-F238E27FC236}">
                <a16:creationId xmlns:a16="http://schemas.microsoft.com/office/drawing/2014/main" id="{626AE789-C7F1-468F-94D8-0F7EFC3E6B1F}"/>
              </a:ext>
            </a:extLst>
          </p:cNvPr>
          <p:cNvSpPr/>
          <p:nvPr/>
        </p:nvSpPr>
        <p:spPr>
          <a:xfrm>
            <a:off x="-2053293" y="188640"/>
            <a:ext cx="1959333" cy="5604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itulé poste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emple : Développeur mobile</a:t>
            </a:r>
          </a:p>
        </p:txBody>
      </p:sp>
      <p:sp>
        <p:nvSpPr>
          <p:cNvPr id="56" name="Title Placeholder 1">
            <a:extLst>
              <a:ext uri="{FF2B5EF4-FFF2-40B4-BE49-F238E27FC236}">
                <a16:creationId xmlns:a16="http://schemas.microsoft.com/office/drawing/2014/main" id="{8E49DEEA-DF3B-491E-837B-FB8F092CB41B}"/>
              </a:ext>
            </a:extLst>
          </p:cNvPr>
          <p:cNvSpPr txBox="1">
            <a:spLocks/>
          </p:cNvSpPr>
          <p:nvPr/>
        </p:nvSpPr>
        <p:spPr>
          <a:xfrm>
            <a:off x="322365" y="188640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>
                <a:latin typeface="Ubuntu" panose="020B0804030602030204" pitchFamily="34" charset="0"/>
              </a:rPr>
              <a:t>Business Analyst</a:t>
            </a:r>
          </a:p>
          <a:p>
            <a:pPr algn="just">
              <a:lnSpc>
                <a:spcPct val="100000"/>
              </a:lnSpc>
            </a:pPr>
            <a:endParaRPr lang="en-US" sz="1000">
              <a:latin typeface="Ubuntu" panose="020B0804030602030204" pitchFamily="34" charset="0"/>
            </a:endParaRPr>
          </a:p>
          <a:p>
            <a:pPr algn="just"/>
            <a:r>
              <a:rPr lang="en-US" sz="2400" b="1" i="1">
                <a:latin typeface="Ubuntu" panose="020B0804030602030204" pitchFamily="34" charset="0"/>
              </a:rPr>
              <a:t>DRO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09508" y="5638651"/>
            <a:ext cx="108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36615" y="1556792"/>
            <a:ext cx="1260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36616" y="1806873"/>
            <a:ext cx="3799401" cy="17875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171450" algn="just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Finances/Comptabilité : Comptabilité Anglo-Saxonne / Comptabilité générale, analytique et analyse financière / Normes IFRS / Contrôle budgétaire / Contrôle de gestion industriel / Trésorerie</a:t>
            </a:r>
          </a:p>
          <a:p>
            <a:pPr marL="171450" indent="-171450" algn="just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Achats / Gestion des stocks</a:t>
            </a:r>
          </a:p>
          <a:p>
            <a:pPr marL="171450" indent="-171450" algn="just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Logistique : </a:t>
            </a:r>
            <a:r>
              <a:rPr lang="fr-FR" sz="1100" err="1">
                <a:solidFill>
                  <a:srgbClr val="15596B"/>
                </a:solidFill>
                <a:latin typeface="Ubuntu Light" panose="020B0304030602030204" pitchFamily="34" charset="0"/>
              </a:rPr>
              <a:t>Supply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-Chain Management</a:t>
            </a:r>
          </a:p>
          <a:p>
            <a:pPr marL="171450" indent="-171450" algn="just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Production : Gestion de production / Recherche et</a:t>
            </a:r>
            <a:endParaRPr lang="en-US" sz="14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92216" y="5107172"/>
            <a:ext cx="1918095" cy="5237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>
              <a:lnSpc>
                <a:spcPct val="150000"/>
              </a:lnSpc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Français – Maternelle</a:t>
            </a:r>
          </a:p>
          <a:p>
            <a:pPr algn="just">
              <a:lnSpc>
                <a:spcPct val="150000"/>
              </a:lnSpc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Anglais – Professionnel</a:t>
            </a: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01391" y="4914698"/>
            <a:ext cx="1088117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46874" y="5903452"/>
            <a:ext cx="4091158" cy="41525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100" b="1">
                <a:solidFill>
                  <a:srgbClr val="15596B"/>
                </a:solidFill>
                <a:latin typeface="Ubuntu Light" panose="020B0304030602030204" pitchFamily="34" charset="0"/>
              </a:rPr>
              <a:t>2007 </a:t>
            </a: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– Master ESC option Finance</a:t>
            </a:r>
          </a:p>
          <a:p>
            <a:pPr algn="just"/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	Grenoble | Ecole de Management</a:t>
            </a:r>
            <a:endParaRPr lang="en-US" sz="11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816616" y="1123559"/>
            <a:ext cx="6909582" cy="56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Scaso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- Groupe Leclerc - Business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Analyst</a:t>
            </a:r>
            <a:endParaRPr lang="fr-FR" sz="1100" b="1">
              <a:solidFill>
                <a:srgbClr val="15596B"/>
              </a:solidFill>
              <a:latin typeface="Ubuntu" panose="020B0804030602030204" pitchFamily="34" charset="0"/>
              <a:cs typeface="Times New Roman" pitchFamily="18" charset="0"/>
            </a:endParaRPr>
          </a:p>
          <a:p>
            <a:pPr marL="0" lvl="1" indent="-180975"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 de montée de version d’une application EPM (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Jedox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) : Animer les workshops Finance et RH, rédiger les spécifications fonctionnelles et traduire le besoin, redéfinir le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porting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et les masques de saisie.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Orapi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SA - Business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Analyst</a:t>
            </a:r>
            <a:endParaRPr lang="fr-FR" sz="1100" b="1">
              <a:solidFill>
                <a:srgbClr val="15596B"/>
              </a:solidFill>
              <a:latin typeface="Ubuntu" panose="020B0804030602030204" pitchFamily="34" charset="0"/>
              <a:cs typeface="Times New Roman" pitchFamily="18" charset="0"/>
            </a:endParaRP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	Projet d’application BI Finance (CA &amp; Marge) : définir et cadrer le besoin (spécifications), Définir les datavisualisations (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ashboards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), définir le modèle de données, animer les workshops, développer une démo sur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QlikSense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Desktop.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Ministère des Solidarités et de la Santé (ARS) – Projet BI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SantéViz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- Business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Analyst</a:t>
            </a:r>
            <a:endParaRPr lang="fr-FR" sz="1100" b="1">
              <a:solidFill>
                <a:srgbClr val="15596B"/>
              </a:solidFill>
              <a:latin typeface="Ubuntu" panose="020B0804030602030204" pitchFamily="34" charset="0"/>
              <a:cs typeface="Times New Roman" pitchFamily="18" charset="0"/>
            </a:endParaRP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	Traduire les besoins du Client, Animer les workshops, Analyser le modèle de données, Designer les tableaux de bord, rédiger les spécifications fonctionnelles, piloter des test de recette.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apgemini – projets RPA (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Robotic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Process Automation)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Ui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Path - Business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Analyst</a:t>
            </a:r>
            <a:endParaRPr lang="fr-FR" sz="1100" b="1">
              <a:solidFill>
                <a:srgbClr val="15596B"/>
              </a:solidFill>
              <a:latin typeface="Ubuntu" panose="020B0804030602030204" pitchFamily="34" charset="0"/>
              <a:cs typeface="Times New Roman" pitchFamily="18" charset="0"/>
            </a:endParaRP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	Rédiger des Use Cases / spécifications  et suivre les projets (automatisation de la production du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porting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d’activité de l’entité)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Merial - Boehringer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Ingelheim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- Analyste financier planning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	Coordonner le processus budgétaire, animer la communauté Finance, Assurer un support sur l'appli. EPM (IBM Cognos TM1), Optimiser le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porting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, participer à la mise en place de la nouvelle structure analytique &amp; plan de compte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Capelli Immobilier - Contrôleur Financier</a:t>
            </a:r>
          </a:p>
          <a:p>
            <a:pPr marL="0" lvl="1"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Mise en place d'un outil Excel de réconciliation et d'analyse des comptes de trésorerie, administrer la base BNP Paribas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NetCash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- Elaborer les budgets des opérations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ArcelorMittal – Environnement SAP - Contrôleur Financier</a:t>
            </a:r>
          </a:p>
          <a:p>
            <a:pPr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Optimiser le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porting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(P&amp;L, cash-flows) et analyser de l’EBITDA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Jacquet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Metals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- Analyste Achats &amp; Stocks</a:t>
            </a:r>
          </a:p>
          <a:p>
            <a:pPr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réer et déployer un outil de calcul de réapprovisionnement, optimiser et automatiser les 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porting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achats et stocks (</a:t>
            </a:r>
            <a:r>
              <a:rPr lang="fr-FR" sz="1100" i="1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anking</a:t>
            </a: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fournisseurs RFA, rotation des stocks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)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Integra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LifeSciences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- Inventory Controller</a:t>
            </a:r>
          </a:p>
          <a:p>
            <a:pPr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articiper à un projet d’implémentation d'une application SQL pour la gestion des transactions intra-groupe, des stocks et provisions (rôle de Key-User)</a:t>
            </a:r>
          </a:p>
          <a:p>
            <a:pPr indent="-180975" algn="just">
              <a:spcBef>
                <a:spcPts val="150"/>
              </a:spcBef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3616325" algn="r"/>
              </a:tabLst>
            </a:pP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Bluestar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 Silicones (</a:t>
            </a:r>
            <a:r>
              <a:rPr lang="fr-FR" sz="1100" b="1" err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Elkem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  <a:cs typeface="Times New Roman" pitchFamily="18" charset="0"/>
              </a:rPr>
              <a:t>) – Environnement SAP - Analyste financier</a:t>
            </a:r>
          </a:p>
          <a:p>
            <a:pPr algn="just">
              <a:spcBef>
                <a:spcPts val="150"/>
              </a:spcBef>
              <a:buClr>
                <a:srgbClr val="95E616"/>
              </a:buClr>
              <a:buSzPct val="150000"/>
              <a:tabLst>
                <a:tab pos="3616325" algn="r"/>
              </a:tabLst>
            </a:pPr>
            <a:r>
              <a:rPr lang="fr-FR" sz="1100" i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érer et analyser les couts de production, les valorisations de stocks &amp; les provisions</a:t>
            </a:r>
          </a:p>
        </p:txBody>
      </p:sp>
      <p:sp>
        <p:nvSpPr>
          <p:cNvPr id="108" name="Rectangle à coins arrondis 142">
            <a:extLst>
              <a:ext uri="{FF2B5EF4-FFF2-40B4-BE49-F238E27FC236}">
                <a16:creationId xmlns:a16="http://schemas.microsoft.com/office/drawing/2014/main" id="{32BB47EF-A9E0-4D56-AACD-FFEBBACF178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12024" y="206099"/>
            <a:ext cx="5184576" cy="450000"/>
          </a:xfrm>
          <a:prstGeom prst="roundRect">
            <a:avLst>
              <a:gd name="adj" fmla="val 0"/>
            </a:avLst>
          </a:prstGeom>
          <a:noFill/>
          <a:ln w="381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da-DK" b="1">
                <a:solidFill>
                  <a:schemeClr val="tx2"/>
                </a:solidFill>
                <a:latin typeface="Ubuntu" panose="020B0804030602030204" pitchFamily="34" charset="0"/>
              </a:rPr>
              <a:t>Consultant Métier / Analyste fonctionnel</a:t>
            </a:r>
            <a:endParaRPr lang="en-US" b="1">
              <a:solidFill>
                <a:schemeClr val="tx2"/>
              </a:solidFill>
              <a:latin typeface="Ubuntu" panose="020B0804030602030204" pitchFamily="34" charset="0"/>
            </a:endParaRPr>
          </a:p>
        </p:txBody>
      </p:sp>
      <p:sp>
        <p:nvSpPr>
          <p:cNvPr id="55" name="Rectangle : coins arrondis 54">
            <a:extLst>
              <a:ext uri="{FF2B5EF4-FFF2-40B4-BE49-F238E27FC236}">
                <a16:creationId xmlns:a16="http://schemas.microsoft.com/office/drawing/2014/main" id="{84AB0B88-8FBE-4F73-9460-406699541EDC}"/>
              </a:ext>
            </a:extLst>
          </p:cNvPr>
          <p:cNvSpPr/>
          <p:nvPr/>
        </p:nvSpPr>
        <p:spPr>
          <a:xfrm>
            <a:off x="219214" y="3657891"/>
            <a:ext cx="1224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DF849BC7-2B1B-4259-B005-F766AE43A7AE}"/>
              </a:ext>
            </a:extLst>
          </p:cNvPr>
          <p:cNvSpPr/>
          <p:nvPr/>
        </p:nvSpPr>
        <p:spPr>
          <a:xfrm>
            <a:off x="-2053294" y="3426752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chnologies </a:t>
            </a:r>
            <a:b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 des logiciels, technologies par ordre décroissant vis-à-vis de votre évaluation sur 5 pics</a:t>
            </a: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7FC864C5-2CC9-4A44-AA31-01DB290CBD84}"/>
              </a:ext>
            </a:extLst>
          </p:cNvPr>
          <p:cNvSpPr/>
          <p:nvPr/>
        </p:nvSpPr>
        <p:spPr>
          <a:xfrm>
            <a:off x="-2070188" y="4630180"/>
            <a:ext cx="1959333" cy="8207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gues et niveau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ons (A1-A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termédiaire (B1-B2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fessionnel (B2 – C1)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rant (C1-C2)</a:t>
            </a:r>
          </a:p>
        </p:txBody>
      </p:sp>
      <p:sp>
        <p:nvSpPr>
          <p:cNvPr id="70" name="Rectangle : coins arrondis 69">
            <a:extLst>
              <a:ext uri="{FF2B5EF4-FFF2-40B4-BE49-F238E27FC236}">
                <a16:creationId xmlns:a16="http://schemas.microsoft.com/office/drawing/2014/main" id="{40CF57C3-3CFC-4C73-B834-01EDFCA8BD88}"/>
              </a:ext>
            </a:extLst>
          </p:cNvPr>
          <p:cNvSpPr/>
          <p:nvPr/>
        </p:nvSpPr>
        <p:spPr>
          <a:xfrm>
            <a:off x="-1969042" y="5783193"/>
            <a:ext cx="1959333" cy="6808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iplômes, formations par ordre déchronologie</a:t>
            </a:r>
          </a:p>
          <a:p>
            <a:r>
              <a:rPr lang="fr-FR" sz="105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 plus récente en premier</a:t>
            </a:r>
          </a:p>
        </p:txBody>
      </p:sp>
      <p:sp>
        <p:nvSpPr>
          <p:cNvPr id="71" name="Rectangle : coins arrondis 70">
            <a:extLst>
              <a:ext uri="{FF2B5EF4-FFF2-40B4-BE49-F238E27FC236}">
                <a16:creationId xmlns:a16="http://schemas.microsoft.com/office/drawing/2014/main" id="{E540DDE0-3768-4467-8BA1-FFB649E7E353}"/>
              </a:ext>
            </a:extLst>
          </p:cNvPr>
          <p:cNvSpPr/>
          <p:nvPr/>
        </p:nvSpPr>
        <p:spPr>
          <a:xfrm>
            <a:off x="4890000" y="865158"/>
            <a:ext cx="2412000" cy="216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77B9979F-7B4F-4F53-AAB7-A9B779AD87E1}"/>
              </a:ext>
            </a:extLst>
          </p:cNvPr>
          <p:cNvSpPr/>
          <p:nvPr/>
        </p:nvSpPr>
        <p:spPr>
          <a:xfrm>
            <a:off x="-2043987" y="1608287"/>
            <a:ext cx="1959333" cy="40833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050" b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Grade C ou +</a:t>
            </a:r>
            <a:endParaRPr lang="fr-FR" sz="105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5B9E03F-E29C-4818-BDBF-BD8FAE702C2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0136" y="3866660"/>
            <a:ext cx="1129767" cy="101706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Suite Office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Oracle appli GL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Business </a:t>
            </a:r>
            <a:r>
              <a:rPr lang="fr-FR" sz="11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Objects</a:t>
            </a:r>
            <a:endParaRPr lang="fr-FR" sz="1100" dirty="0">
              <a:solidFill>
                <a:srgbClr val="15596B"/>
              </a:solidFill>
              <a:latin typeface="Ubuntu Light" panose="020B0304030602030204" pitchFamily="34" charset="0"/>
            </a:endParaRP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Cogno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EAC903A-359D-4722-9A2C-DAF6F58B30C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429903" y="3866660"/>
            <a:ext cx="1575661" cy="101706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Oracle Discover Desktop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QlikView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MOVEX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dirty="0">
                <a:solidFill>
                  <a:srgbClr val="15596B"/>
                </a:solidFill>
                <a:latin typeface="Ubuntu Light" panose="020B0304030602030204" pitchFamily="34" charset="0"/>
              </a:rPr>
              <a:t>SAP FI CO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75162A5-799F-41C2-95C0-C2B2B45C2BA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30015" y="3875593"/>
            <a:ext cx="1014537" cy="101706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Excel Macro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VBA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>
                <a:solidFill>
                  <a:srgbClr val="15596B"/>
                </a:solidFill>
                <a:latin typeface="Ubuntu Light" panose="020B0304030602030204" pitchFamily="34" charset="0"/>
              </a:rPr>
              <a:t>SQL</a:t>
            </a:r>
          </a:p>
          <a:p>
            <a:pPr algn="just">
              <a:lnSpc>
                <a:spcPct val="150000"/>
              </a:lnSpc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err="1">
                <a:solidFill>
                  <a:srgbClr val="15596B"/>
                </a:solidFill>
                <a:latin typeface="Ubuntu Light" panose="020B0304030602030204" pitchFamily="34" charset="0"/>
              </a:rPr>
              <a:t>QLik</a:t>
            </a:r>
            <a:endParaRPr lang="fr-FR" sz="110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62" name="Rectangle à coins arrondis 158">
            <a:extLst>
              <a:ext uri="{FF2B5EF4-FFF2-40B4-BE49-F238E27FC236}">
                <a16:creationId xmlns:a16="http://schemas.microsoft.com/office/drawing/2014/main" id="{D07A8FB4-034A-4186-B547-C9E0A5D40D1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058796" y="857665"/>
            <a:ext cx="1450218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>
                <a:solidFill>
                  <a:schemeClr val="bg1"/>
                </a:solidFill>
                <a:latin typeface="Ubuntu" panose="020B0804030602030204" pitchFamily="34" charset="0"/>
              </a:rPr>
              <a:t>X années d’expériences</a:t>
            </a:r>
          </a:p>
        </p:txBody>
      </p:sp>
      <p:sp>
        <p:nvSpPr>
          <p:cNvPr id="61" name="Rectangle : coins arrondis 60">
            <a:extLst>
              <a:ext uri="{FF2B5EF4-FFF2-40B4-BE49-F238E27FC236}">
                <a16:creationId xmlns:a16="http://schemas.microsoft.com/office/drawing/2014/main" id="{ACB86149-78C9-47EB-B270-463DF499F61B}"/>
              </a:ext>
            </a:extLst>
          </p:cNvPr>
          <p:cNvSpPr/>
          <p:nvPr/>
        </p:nvSpPr>
        <p:spPr>
          <a:xfrm>
            <a:off x="227279" y="6313016"/>
            <a:ext cx="1421875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>
                <a:solidFill>
                  <a:schemeClr val="bg1"/>
                </a:solidFill>
                <a:latin typeface="Ubuntu" panose="020B0804030602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4125081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2.xml><?xml version="1.0" encoding="utf-8"?>
<a:theme xmlns:a="http://schemas.openxmlformats.org/drawingml/2006/main" name="4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1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2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5.xml><?xml version="1.0" encoding="utf-8"?>
<a:theme xmlns:a="http://schemas.openxmlformats.org/drawingml/2006/main" name="3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7C7012D3141548AB740031175D0D08" ma:contentTypeVersion="4" ma:contentTypeDescription="Crée un document." ma:contentTypeScope="" ma:versionID="7ddd77b1b73b7ed7feca05c6f80d3262">
  <xsd:schema xmlns:xsd="http://www.w3.org/2001/XMLSchema" xmlns:xs="http://www.w3.org/2001/XMLSchema" xmlns:p="http://schemas.microsoft.com/office/2006/metadata/properties" xmlns:ns2="a7fee553-5b5e-4d4f-85e8-27a52b166282" xmlns:ns3="5e665403-6457-4f7f-ae16-6bd84b0cb826" targetNamespace="http://schemas.microsoft.com/office/2006/metadata/properties" ma:root="true" ma:fieldsID="415cb25f1fd5747381ee6f3339bcb6df" ns2:_="" ns3:_="">
    <xsd:import namespace="a7fee553-5b5e-4d4f-85e8-27a52b166282"/>
    <xsd:import namespace="5e665403-6457-4f7f-ae16-6bd84b0cb8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ee553-5b5e-4d4f-85e8-27a52b1662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665403-6457-4f7f-ae16-6bd84b0cb82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862EE4-BC97-47BC-ACF5-AC2B4C8236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fee553-5b5e-4d4f-85e8-27a52b166282"/>
    <ds:schemaRef ds:uri="5e665403-6457-4f7f-ae16-6bd84b0cb8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6807F67-3C8A-409D-8CB9-BF07F05B872A}">
  <ds:schemaRefs>
    <ds:schemaRef ds:uri="a7fee553-5b5e-4d4f-85e8-27a52b1662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B9ECA75-A426-4AF1-8499-369CC8C448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01</TotalTime>
  <Words>2263</Words>
  <Application>Microsoft Office PowerPoint</Application>
  <PresentationFormat>Grand écran</PresentationFormat>
  <Paragraphs>343</Paragraphs>
  <Slides>6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6</vt:i4>
      </vt:variant>
    </vt:vector>
  </HeadingPairs>
  <TitlesOfParts>
    <vt:vector size="18" baseType="lpstr">
      <vt:lpstr>Arial</vt:lpstr>
      <vt:lpstr>Calibri</vt:lpstr>
      <vt:lpstr>Courier New</vt:lpstr>
      <vt:lpstr>Ubuntu</vt:lpstr>
      <vt:lpstr>Ubuntu Light</vt:lpstr>
      <vt:lpstr>Verdana</vt:lpstr>
      <vt:lpstr>Wingdings</vt:lpstr>
      <vt:lpstr>Content Layouts</vt:lpstr>
      <vt:lpstr>4_Content Layouts</vt:lpstr>
      <vt:lpstr>1_Content Layouts</vt:lpstr>
      <vt:lpstr>2_Content Layouts</vt:lpstr>
      <vt:lpstr>3_Content Layout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</dc:title>
  <dc:creator>Matthieu Lieutaud</dc:creator>
  <cp:lastModifiedBy>Frederic Fromager</cp:lastModifiedBy>
  <cp:revision>32</cp:revision>
  <dcterms:created xsi:type="dcterms:W3CDTF">2017-10-31T10:10:17Z</dcterms:created>
  <dcterms:modified xsi:type="dcterms:W3CDTF">2021-05-01T15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7C7012D3141548AB740031175D0D08</vt:lpwstr>
  </property>
</Properties>
</file>